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tif" ContentType="image/tiff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tags/tag4.xml" ContentType="application/vnd.openxmlformats-officedocument.presentationml.tags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tags/tag5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4"/>
  </p:sldMasterIdLst>
  <p:notesMasterIdLst>
    <p:notesMasterId r:id="rId13"/>
  </p:notesMasterIdLst>
  <p:sldIdLst>
    <p:sldId id="314" r:id="rId5"/>
    <p:sldId id="304" r:id="rId6"/>
    <p:sldId id="315" r:id="rId7"/>
    <p:sldId id="316" r:id="rId8"/>
    <p:sldId id="317" r:id="rId9"/>
    <p:sldId id="320" r:id="rId10"/>
    <p:sldId id="319" r:id="rId11"/>
    <p:sldId id="321" r:id="rId12"/>
  </p:sldIdLst>
  <p:sldSz cx="12192000" cy="6858000"/>
  <p:notesSz cx="6858000" cy="9144000"/>
  <p:custDataLst>
    <p:tags r:id="rId14"/>
  </p:custDataLst>
  <p:defaultTextStyle>
    <a:defPPr>
      <a:defRPr lang="fi-FI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Oletusosa" id="{FA5A8899-B84F-5E46-94A4-8192503260A7}">
          <p14:sldIdLst>
            <p14:sldId id="314"/>
            <p14:sldId id="304"/>
            <p14:sldId id="315"/>
            <p14:sldId id="316"/>
            <p14:sldId id="317"/>
            <p14:sldId id="320"/>
            <p14:sldId id="319"/>
            <p14:sldId id="321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599C3"/>
    <a:srgbClr val="F9C3DB"/>
    <a:srgbClr val="F27CB1"/>
    <a:srgbClr val="EC008C"/>
    <a:srgbClr val="FACEE2"/>
    <a:srgbClr val="FFD55D"/>
    <a:srgbClr val="FDE9F2"/>
    <a:srgbClr val="54C6EE"/>
    <a:srgbClr val="A9A9D5"/>
    <a:srgbClr val="FFDD7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A1A19594-95D5-4E6C-87CD-D5954C443742}" v="1422" dt="2022-03-21T17:20:35.999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Normaali tyyli 2 - Korostus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8A107856-5554-42FB-B03E-39F5DBC370BA}" styleName="Normaali tyyli 4 - Korostus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2"/>
              </a:solidFill>
            </a:ln>
          </a:top>
        </a:tcBdr>
        <a:fill>
          <a:solidFill>
            <a:schemeClr val="accent2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2">
              <a:tint val="20000"/>
            </a:scheme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9694"/>
    <p:restoredTop sz="94687"/>
  </p:normalViewPr>
  <p:slideViewPr>
    <p:cSldViewPr snapToGrid="0" snapToObjects="1">
      <p:cViewPr varScale="1">
        <p:scale>
          <a:sx n="128" d="100"/>
          <a:sy n="128" d="100"/>
        </p:scale>
        <p:origin x="252" y="12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notesMaster" Target="notesMasters/notesMaster1.xml"/><Relationship Id="rId18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viewProps" Target="viewProps.xml"/><Relationship Id="rId20" Type="http://schemas.microsoft.com/office/2015/10/relationships/revisionInfo" Target="revisionInfo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presProps" Target="presProps.xml"/><Relationship Id="rId10" Type="http://schemas.openxmlformats.org/officeDocument/2006/relationships/slide" Target="slides/slide6.xml"/><Relationship Id="rId19" Type="http://schemas.microsoft.com/office/2016/11/relationships/changesInfo" Target="changesInfos/changesInfo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tags" Target="tags/tag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Helena Laasjärvi" userId="147922e0-9e4e-413c-924b-93f8f61c2127" providerId="ADAL" clId="{A1A19594-95D5-4E6C-87CD-D5954C443742}"/>
    <pc:docChg chg="undo custSel addSld delSld modSld sldOrd modSection">
      <pc:chgData name="Helena Laasjärvi" userId="147922e0-9e4e-413c-924b-93f8f61c2127" providerId="ADAL" clId="{A1A19594-95D5-4E6C-87CD-D5954C443742}" dt="2022-03-21T17:20:26.974" v="864" actId="1076"/>
      <pc:docMkLst>
        <pc:docMk/>
      </pc:docMkLst>
      <pc:sldChg chg="del">
        <pc:chgData name="Helena Laasjärvi" userId="147922e0-9e4e-413c-924b-93f8f61c2127" providerId="ADAL" clId="{A1A19594-95D5-4E6C-87CD-D5954C443742}" dt="2022-03-21T17:19:37.834" v="860" actId="47"/>
        <pc:sldMkLst>
          <pc:docMk/>
          <pc:sldMk cId="48784172" sldId="257"/>
        </pc:sldMkLst>
      </pc:sldChg>
      <pc:sldChg chg="del">
        <pc:chgData name="Helena Laasjärvi" userId="147922e0-9e4e-413c-924b-93f8f61c2127" providerId="ADAL" clId="{A1A19594-95D5-4E6C-87CD-D5954C443742}" dt="2022-03-21T17:19:37.834" v="860" actId="47"/>
        <pc:sldMkLst>
          <pc:docMk/>
          <pc:sldMk cId="396529617" sldId="262"/>
        </pc:sldMkLst>
      </pc:sldChg>
      <pc:sldChg chg="del">
        <pc:chgData name="Helena Laasjärvi" userId="147922e0-9e4e-413c-924b-93f8f61c2127" providerId="ADAL" clId="{A1A19594-95D5-4E6C-87CD-D5954C443742}" dt="2022-03-21T17:19:37.834" v="860" actId="47"/>
        <pc:sldMkLst>
          <pc:docMk/>
          <pc:sldMk cId="567366138" sldId="276"/>
        </pc:sldMkLst>
      </pc:sldChg>
      <pc:sldChg chg="del">
        <pc:chgData name="Helena Laasjärvi" userId="147922e0-9e4e-413c-924b-93f8f61c2127" providerId="ADAL" clId="{A1A19594-95D5-4E6C-87CD-D5954C443742}" dt="2022-03-21T17:19:37.834" v="860" actId="47"/>
        <pc:sldMkLst>
          <pc:docMk/>
          <pc:sldMk cId="1436191983" sldId="277"/>
        </pc:sldMkLst>
      </pc:sldChg>
      <pc:sldChg chg="del">
        <pc:chgData name="Helena Laasjärvi" userId="147922e0-9e4e-413c-924b-93f8f61c2127" providerId="ADAL" clId="{A1A19594-95D5-4E6C-87CD-D5954C443742}" dt="2022-03-21T17:19:37.834" v="860" actId="47"/>
        <pc:sldMkLst>
          <pc:docMk/>
          <pc:sldMk cId="638171817" sldId="279"/>
        </pc:sldMkLst>
      </pc:sldChg>
      <pc:sldChg chg="del">
        <pc:chgData name="Helena Laasjärvi" userId="147922e0-9e4e-413c-924b-93f8f61c2127" providerId="ADAL" clId="{A1A19594-95D5-4E6C-87CD-D5954C443742}" dt="2022-03-21T17:19:37.834" v="860" actId="47"/>
        <pc:sldMkLst>
          <pc:docMk/>
          <pc:sldMk cId="1522835767" sldId="280"/>
        </pc:sldMkLst>
      </pc:sldChg>
      <pc:sldChg chg="del">
        <pc:chgData name="Helena Laasjärvi" userId="147922e0-9e4e-413c-924b-93f8f61c2127" providerId="ADAL" clId="{A1A19594-95D5-4E6C-87CD-D5954C443742}" dt="2022-03-21T17:19:37.834" v="860" actId="47"/>
        <pc:sldMkLst>
          <pc:docMk/>
          <pc:sldMk cId="2750018942" sldId="281"/>
        </pc:sldMkLst>
      </pc:sldChg>
      <pc:sldChg chg="del">
        <pc:chgData name="Helena Laasjärvi" userId="147922e0-9e4e-413c-924b-93f8f61c2127" providerId="ADAL" clId="{A1A19594-95D5-4E6C-87CD-D5954C443742}" dt="2022-03-21T17:19:37.834" v="860" actId="47"/>
        <pc:sldMkLst>
          <pc:docMk/>
          <pc:sldMk cId="832256426" sldId="283"/>
        </pc:sldMkLst>
      </pc:sldChg>
      <pc:sldChg chg="del">
        <pc:chgData name="Helena Laasjärvi" userId="147922e0-9e4e-413c-924b-93f8f61c2127" providerId="ADAL" clId="{A1A19594-95D5-4E6C-87CD-D5954C443742}" dt="2022-03-21T17:19:37.834" v="860" actId="47"/>
        <pc:sldMkLst>
          <pc:docMk/>
          <pc:sldMk cId="3030195058" sldId="284"/>
        </pc:sldMkLst>
      </pc:sldChg>
      <pc:sldChg chg="del">
        <pc:chgData name="Helena Laasjärvi" userId="147922e0-9e4e-413c-924b-93f8f61c2127" providerId="ADAL" clId="{A1A19594-95D5-4E6C-87CD-D5954C443742}" dt="2022-03-21T17:19:37.834" v="860" actId="47"/>
        <pc:sldMkLst>
          <pc:docMk/>
          <pc:sldMk cId="1681479401" sldId="287"/>
        </pc:sldMkLst>
      </pc:sldChg>
      <pc:sldChg chg="del">
        <pc:chgData name="Helena Laasjärvi" userId="147922e0-9e4e-413c-924b-93f8f61c2127" providerId="ADAL" clId="{A1A19594-95D5-4E6C-87CD-D5954C443742}" dt="2022-03-21T17:19:23.975" v="859" actId="47"/>
        <pc:sldMkLst>
          <pc:docMk/>
          <pc:sldMk cId="715913612" sldId="288"/>
        </pc:sldMkLst>
      </pc:sldChg>
      <pc:sldChg chg="del">
        <pc:chgData name="Helena Laasjärvi" userId="147922e0-9e4e-413c-924b-93f8f61c2127" providerId="ADAL" clId="{A1A19594-95D5-4E6C-87CD-D5954C443742}" dt="2022-03-21T17:19:23.975" v="859" actId="47"/>
        <pc:sldMkLst>
          <pc:docMk/>
          <pc:sldMk cId="752674889" sldId="289"/>
        </pc:sldMkLst>
      </pc:sldChg>
      <pc:sldChg chg="del">
        <pc:chgData name="Helena Laasjärvi" userId="147922e0-9e4e-413c-924b-93f8f61c2127" providerId="ADAL" clId="{A1A19594-95D5-4E6C-87CD-D5954C443742}" dt="2022-03-21T17:19:11.287" v="858" actId="47"/>
        <pc:sldMkLst>
          <pc:docMk/>
          <pc:sldMk cId="2930245678" sldId="290"/>
        </pc:sldMkLst>
      </pc:sldChg>
      <pc:sldChg chg="del">
        <pc:chgData name="Helena Laasjärvi" userId="147922e0-9e4e-413c-924b-93f8f61c2127" providerId="ADAL" clId="{A1A19594-95D5-4E6C-87CD-D5954C443742}" dt="2022-03-21T17:19:23.975" v="859" actId="47"/>
        <pc:sldMkLst>
          <pc:docMk/>
          <pc:sldMk cId="1374272036" sldId="291"/>
        </pc:sldMkLst>
      </pc:sldChg>
      <pc:sldChg chg="del">
        <pc:chgData name="Helena Laasjärvi" userId="147922e0-9e4e-413c-924b-93f8f61c2127" providerId="ADAL" clId="{A1A19594-95D5-4E6C-87CD-D5954C443742}" dt="2022-03-21T17:19:23.975" v="859" actId="47"/>
        <pc:sldMkLst>
          <pc:docMk/>
          <pc:sldMk cId="1503456678" sldId="292"/>
        </pc:sldMkLst>
      </pc:sldChg>
      <pc:sldChg chg="del">
        <pc:chgData name="Helena Laasjärvi" userId="147922e0-9e4e-413c-924b-93f8f61c2127" providerId="ADAL" clId="{A1A19594-95D5-4E6C-87CD-D5954C443742}" dt="2022-03-21T17:19:23.975" v="859" actId="47"/>
        <pc:sldMkLst>
          <pc:docMk/>
          <pc:sldMk cId="2362643404" sldId="293"/>
        </pc:sldMkLst>
      </pc:sldChg>
      <pc:sldChg chg="del">
        <pc:chgData name="Helena Laasjärvi" userId="147922e0-9e4e-413c-924b-93f8f61c2127" providerId="ADAL" clId="{A1A19594-95D5-4E6C-87CD-D5954C443742}" dt="2022-03-21T17:19:23.975" v="859" actId="47"/>
        <pc:sldMkLst>
          <pc:docMk/>
          <pc:sldMk cId="2306014607" sldId="294"/>
        </pc:sldMkLst>
      </pc:sldChg>
      <pc:sldChg chg="del">
        <pc:chgData name="Helena Laasjärvi" userId="147922e0-9e4e-413c-924b-93f8f61c2127" providerId="ADAL" clId="{A1A19594-95D5-4E6C-87CD-D5954C443742}" dt="2022-03-21T17:19:23.975" v="859" actId="47"/>
        <pc:sldMkLst>
          <pc:docMk/>
          <pc:sldMk cId="2948409664" sldId="295"/>
        </pc:sldMkLst>
      </pc:sldChg>
      <pc:sldChg chg="del">
        <pc:chgData name="Helena Laasjärvi" userId="147922e0-9e4e-413c-924b-93f8f61c2127" providerId="ADAL" clId="{A1A19594-95D5-4E6C-87CD-D5954C443742}" dt="2022-03-21T17:19:23.975" v="859" actId="47"/>
        <pc:sldMkLst>
          <pc:docMk/>
          <pc:sldMk cId="3358695604" sldId="296"/>
        </pc:sldMkLst>
      </pc:sldChg>
      <pc:sldChg chg="del">
        <pc:chgData name="Helena Laasjärvi" userId="147922e0-9e4e-413c-924b-93f8f61c2127" providerId="ADAL" clId="{A1A19594-95D5-4E6C-87CD-D5954C443742}" dt="2022-03-21T17:19:23.975" v="859" actId="47"/>
        <pc:sldMkLst>
          <pc:docMk/>
          <pc:sldMk cId="1902614847" sldId="298"/>
        </pc:sldMkLst>
      </pc:sldChg>
      <pc:sldChg chg="del">
        <pc:chgData name="Helena Laasjärvi" userId="147922e0-9e4e-413c-924b-93f8f61c2127" providerId="ADAL" clId="{A1A19594-95D5-4E6C-87CD-D5954C443742}" dt="2022-03-21T17:19:23.975" v="859" actId="47"/>
        <pc:sldMkLst>
          <pc:docMk/>
          <pc:sldMk cId="2781864839" sldId="299"/>
        </pc:sldMkLst>
      </pc:sldChg>
      <pc:sldChg chg="del">
        <pc:chgData name="Helena Laasjärvi" userId="147922e0-9e4e-413c-924b-93f8f61c2127" providerId="ADAL" clId="{A1A19594-95D5-4E6C-87CD-D5954C443742}" dt="2022-03-21T17:19:11.287" v="858" actId="47"/>
        <pc:sldMkLst>
          <pc:docMk/>
          <pc:sldMk cId="918289778" sldId="300"/>
        </pc:sldMkLst>
      </pc:sldChg>
      <pc:sldChg chg="del">
        <pc:chgData name="Helena Laasjärvi" userId="147922e0-9e4e-413c-924b-93f8f61c2127" providerId="ADAL" clId="{A1A19594-95D5-4E6C-87CD-D5954C443742}" dt="2022-03-21T17:19:11.287" v="858" actId="47"/>
        <pc:sldMkLst>
          <pc:docMk/>
          <pc:sldMk cId="3517716753" sldId="301"/>
        </pc:sldMkLst>
      </pc:sldChg>
      <pc:sldChg chg="del">
        <pc:chgData name="Helena Laasjärvi" userId="147922e0-9e4e-413c-924b-93f8f61c2127" providerId="ADAL" clId="{A1A19594-95D5-4E6C-87CD-D5954C443742}" dt="2022-03-21T17:19:11.287" v="858" actId="47"/>
        <pc:sldMkLst>
          <pc:docMk/>
          <pc:sldMk cId="1589890886" sldId="302"/>
        </pc:sldMkLst>
      </pc:sldChg>
      <pc:sldChg chg="del">
        <pc:chgData name="Helena Laasjärvi" userId="147922e0-9e4e-413c-924b-93f8f61c2127" providerId="ADAL" clId="{A1A19594-95D5-4E6C-87CD-D5954C443742}" dt="2022-03-21T17:19:11.287" v="858" actId="47"/>
        <pc:sldMkLst>
          <pc:docMk/>
          <pc:sldMk cId="4103225806" sldId="303"/>
        </pc:sldMkLst>
      </pc:sldChg>
      <pc:sldChg chg="modSp mod ord">
        <pc:chgData name="Helena Laasjärvi" userId="147922e0-9e4e-413c-924b-93f8f61c2127" providerId="ADAL" clId="{A1A19594-95D5-4E6C-87CD-D5954C443742}" dt="2022-03-21T17:03:03.841" v="625" actId="14100"/>
        <pc:sldMkLst>
          <pc:docMk/>
          <pc:sldMk cId="2567248277" sldId="304"/>
        </pc:sldMkLst>
        <pc:spChg chg="mod">
          <ac:chgData name="Helena Laasjärvi" userId="147922e0-9e4e-413c-924b-93f8f61c2127" providerId="ADAL" clId="{A1A19594-95D5-4E6C-87CD-D5954C443742}" dt="2022-03-21T17:02:36.767" v="622"/>
          <ac:spMkLst>
            <pc:docMk/>
            <pc:sldMk cId="2567248277" sldId="304"/>
            <ac:spMk id="10" creationId="{0AA9639B-B7E2-44C5-9CA4-50187E024E5F}"/>
          </ac:spMkLst>
        </pc:spChg>
        <pc:graphicFrameChg chg="mod">
          <ac:chgData name="Helena Laasjärvi" userId="147922e0-9e4e-413c-924b-93f8f61c2127" providerId="ADAL" clId="{A1A19594-95D5-4E6C-87CD-D5954C443742}" dt="2022-03-21T17:03:03.841" v="625" actId="14100"/>
          <ac:graphicFrameMkLst>
            <pc:docMk/>
            <pc:sldMk cId="2567248277" sldId="304"/>
            <ac:graphicFrameMk id="8" creationId="{B936F7B1-E20A-3AF0-9D08-1FF576802789}"/>
          </ac:graphicFrameMkLst>
        </pc:graphicFrameChg>
        <pc:picChg chg="mod">
          <ac:chgData name="Helena Laasjärvi" userId="147922e0-9e4e-413c-924b-93f8f61c2127" providerId="ADAL" clId="{A1A19594-95D5-4E6C-87CD-D5954C443742}" dt="2022-03-21T17:02:28.671" v="621" actId="14100"/>
          <ac:picMkLst>
            <pc:docMk/>
            <pc:sldMk cId="2567248277" sldId="304"/>
            <ac:picMk id="6" creationId="{9D1B725A-9F7F-4A5F-A8A5-52289C013BBA}"/>
          </ac:picMkLst>
        </pc:picChg>
      </pc:sldChg>
      <pc:sldChg chg="del">
        <pc:chgData name="Helena Laasjärvi" userId="147922e0-9e4e-413c-924b-93f8f61c2127" providerId="ADAL" clId="{A1A19594-95D5-4E6C-87CD-D5954C443742}" dt="2022-03-21T17:19:11.287" v="858" actId="47"/>
        <pc:sldMkLst>
          <pc:docMk/>
          <pc:sldMk cId="4070654495" sldId="305"/>
        </pc:sldMkLst>
      </pc:sldChg>
      <pc:sldChg chg="del">
        <pc:chgData name="Helena Laasjärvi" userId="147922e0-9e4e-413c-924b-93f8f61c2127" providerId="ADAL" clId="{A1A19594-95D5-4E6C-87CD-D5954C443742}" dt="2022-03-21T17:19:11.287" v="858" actId="47"/>
        <pc:sldMkLst>
          <pc:docMk/>
          <pc:sldMk cId="549404346" sldId="306"/>
        </pc:sldMkLst>
      </pc:sldChg>
      <pc:sldChg chg="del">
        <pc:chgData name="Helena Laasjärvi" userId="147922e0-9e4e-413c-924b-93f8f61c2127" providerId="ADAL" clId="{A1A19594-95D5-4E6C-87CD-D5954C443742}" dt="2022-03-21T17:19:11.287" v="858" actId="47"/>
        <pc:sldMkLst>
          <pc:docMk/>
          <pc:sldMk cId="4123276159" sldId="307"/>
        </pc:sldMkLst>
      </pc:sldChg>
      <pc:sldChg chg="del">
        <pc:chgData name="Helena Laasjärvi" userId="147922e0-9e4e-413c-924b-93f8f61c2127" providerId="ADAL" clId="{A1A19594-95D5-4E6C-87CD-D5954C443742}" dt="2022-03-21T17:19:11.287" v="858" actId="47"/>
        <pc:sldMkLst>
          <pc:docMk/>
          <pc:sldMk cId="1579759834" sldId="309"/>
        </pc:sldMkLst>
      </pc:sldChg>
      <pc:sldChg chg="del">
        <pc:chgData name="Helena Laasjärvi" userId="147922e0-9e4e-413c-924b-93f8f61c2127" providerId="ADAL" clId="{A1A19594-95D5-4E6C-87CD-D5954C443742}" dt="2022-03-21T17:19:11.287" v="858" actId="47"/>
        <pc:sldMkLst>
          <pc:docMk/>
          <pc:sldMk cId="181953243" sldId="311"/>
        </pc:sldMkLst>
      </pc:sldChg>
      <pc:sldChg chg="del">
        <pc:chgData name="Helena Laasjärvi" userId="147922e0-9e4e-413c-924b-93f8f61c2127" providerId="ADAL" clId="{A1A19594-95D5-4E6C-87CD-D5954C443742}" dt="2022-03-21T17:19:11.287" v="858" actId="47"/>
        <pc:sldMkLst>
          <pc:docMk/>
          <pc:sldMk cId="2657336914" sldId="312"/>
        </pc:sldMkLst>
      </pc:sldChg>
      <pc:sldChg chg="del ord">
        <pc:chgData name="Helena Laasjärvi" userId="147922e0-9e4e-413c-924b-93f8f61c2127" providerId="ADAL" clId="{A1A19594-95D5-4E6C-87CD-D5954C443742}" dt="2022-03-21T17:19:45.210" v="861" actId="47"/>
        <pc:sldMkLst>
          <pc:docMk/>
          <pc:sldMk cId="588515560" sldId="313"/>
        </pc:sldMkLst>
      </pc:sldChg>
      <pc:sldChg chg="addSp delSp modSp add mod ord">
        <pc:chgData name="Helena Laasjärvi" userId="147922e0-9e4e-413c-924b-93f8f61c2127" providerId="ADAL" clId="{A1A19594-95D5-4E6C-87CD-D5954C443742}" dt="2022-03-21T17:01:25.906" v="616"/>
        <pc:sldMkLst>
          <pc:docMk/>
          <pc:sldMk cId="181922694" sldId="314"/>
        </pc:sldMkLst>
        <pc:spChg chg="mod">
          <ac:chgData name="Helena Laasjärvi" userId="147922e0-9e4e-413c-924b-93f8f61c2127" providerId="ADAL" clId="{A1A19594-95D5-4E6C-87CD-D5954C443742}" dt="2022-03-21T17:01:25.811" v="575" actId="948"/>
          <ac:spMkLst>
            <pc:docMk/>
            <pc:sldMk cId="181922694" sldId="314"/>
            <ac:spMk id="2" creationId="{00000000-0000-0000-0000-000000000000}"/>
          </ac:spMkLst>
        </pc:spChg>
        <pc:spChg chg="add del mod modVis">
          <ac:chgData name="Helena Laasjärvi" userId="147922e0-9e4e-413c-924b-93f8f61c2127" providerId="ADAL" clId="{A1A19594-95D5-4E6C-87CD-D5954C443742}" dt="2022-03-21T16:59:28.441" v="60"/>
          <ac:spMkLst>
            <pc:docMk/>
            <pc:sldMk cId="181922694" sldId="314"/>
            <ac:spMk id="3" creationId="{EEFC2F78-0D72-4698-8A7C-1197983CC8F3}"/>
          </ac:spMkLst>
        </pc:spChg>
        <pc:spChg chg="add del mod modVis">
          <ac:chgData name="Helena Laasjärvi" userId="147922e0-9e4e-413c-924b-93f8f61c2127" providerId="ADAL" clId="{A1A19594-95D5-4E6C-87CD-D5954C443742}" dt="2022-03-21T16:59:29.028" v="103"/>
          <ac:spMkLst>
            <pc:docMk/>
            <pc:sldMk cId="181922694" sldId="314"/>
            <ac:spMk id="5" creationId="{AB7B8A8F-3FCD-4F4F-809A-8C63DECA2AF8}"/>
          </ac:spMkLst>
        </pc:spChg>
        <pc:spChg chg="add del mod modVis">
          <ac:chgData name="Helena Laasjärvi" userId="147922e0-9e4e-413c-924b-93f8f61c2127" providerId="ADAL" clId="{A1A19594-95D5-4E6C-87CD-D5954C443742}" dt="2022-03-21T16:59:30.314" v="149"/>
          <ac:spMkLst>
            <pc:docMk/>
            <pc:sldMk cId="181922694" sldId="314"/>
            <ac:spMk id="7" creationId="{20F0B51A-F0AF-496D-B05B-9ACD494D838E}"/>
          </ac:spMkLst>
        </pc:spChg>
        <pc:spChg chg="add del mod modVis">
          <ac:chgData name="Helena Laasjärvi" userId="147922e0-9e4e-413c-924b-93f8f61c2127" providerId="ADAL" clId="{A1A19594-95D5-4E6C-87CD-D5954C443742}" dt="2022-03-21T16:59:31.350" v="195"/>
          <ac:spMkLst>
            <pc:docMk/>
            <pc:sldMk cId="181922694" sldId="314"/>
            <ac:spMk id="9" creationId="{178F6D07-38F1-45B9-B00D-36728FBF5477}"/>
          </ac:spMkLst>
        </pc:spChg>
        <pc:spChg chg="add del mod modVis">
          <ac:chgData name="Helena Laasjärvi" userId="147922e0-9e4e-413c-924b-93f8f61c2127" providerId="ADAL" clId="{A1A19594-95D5-4E6C-87CD-D5954C443742}" dt="2022-03-21T16:59:31.921" v="238"/>
          <ac:spMkLst>
            <pc:docMk/>
            <pc:sldMk cId="181922694" sldId="314"/>
            <ac:spMk id="10" creationId="{66D33DA8-3B74-418E-B9B6-876C1F686B5B}"/>
          </ac:spMkLst>
        </pc:spChg>
        <pc:spChg chg="add del mod modVis">
          <ac:chgData name="Helena Laasjärvi" userId="147922e0-9e4e-413c-924b-93f8f61c2127" providerId="ADAL" clId="{A1A19594-95D5-4E6C-87CD-D5954C443742}" dt="2022-03-21T16:59:32.037" v="281"/>
          <ac:spMkLst>
            <pc:docMk/>
            <pc:sldMk cId="181922694" sldId="314"/>
            <ac:spMk id="11" creationId="{D82AE6A8-4041-4A54-863A-EE4607B9A37A}"/>
          </ac:spMkLst>
        </pc:spChg>
        <pc:spChg chg="add del mod modVis">
          <ac:chgData name="Helena Laasjärvi" userId="147922e0-9e4e-413c-924b-93f8f61c2127" providerId="ADAL" clId="{A1A19594-95D5-4E6C-87CD-D5954C443742}" dt="2022-03-21T16:59:33.874" v="331"/>
          <ac:spMkLst>
            <pc:docMk/>
            <pc:sldMk cId="181922694" sldId="314"/>
            <ac:spMk id="12" creationId="{B83C7DF0-C7B3-4A33-B141-3D09617E6CC1}"/>
          </ac:spMkLst>
        </pc:spChg>
        <pc:spChg chg="add del mod modVis">
          <ac:chgData name="Helena Laasjärvi" userId="147922e0-9e4e-413c-924b-93f8f61c2127" providerId="ADAL" clId="{A1A19594-95D5-4E6C-87CD-D5954C443742}" dt="2022-03-21T16:59:37.617" v="388"/>
          <ac:spMkLst>
            <pc:docMk/>
            <pc:sldMk cId="181922694" sldId="314"/>
            <ac:spMk id="13" creationId="{48D89DDF-6F74-4FD3-9F1C-2880EA25D661}"/>
          </ac:spMkLst>
        </pc:spChg>
        <pc:spChg chg="add del mod modVis">
          <ac:chgData name="Helena Laasjärvi" userId="147922e0-9e4e-413c-924b-93f8f61c2127" providerId="ADAL" clId="{A1A19594-95D5-4E6C-87CD-D5954C443742}" dt="2022-03-21T16:59:38.893" v="432"/>
          <ac:spMkLst>
            <pc:docMk/>
            <pc:sldMk cId="181922694" sldId="314"/>
            <ac:spMk id="14" creationId="{AF87BC16-E22A-4299-A295-D3FF69E41620}"/>
          </ac:spMkLst>
        </pc:spChg>
        <pc:spChg chg="add del mod modVis">
          <ac:chgData name="Helena Laasjärvi" userId="147922e0-9e4e-413c-924b-93f8f61c2127" providerId="ADAL" clId="{A1A19594-95D5-4E6C-87CD-D5954C443742}" dt="2022-03-21T16:59:40.427" v="476"/>
          <ac:spMkLst>
            <pc:docMk/>
            <pc:sldMk cId="181922694" sldId="314"/>
            <ac:spMk id="15" creationId="{700B2C45-E02C-4A10-ABAC-AF6330ABAE2E}"/>
          </ac:spMkLst>
        </pc:spChg>
        <pc:spChg chg="add del mod modVis">
          <ac:chgData name="Helena Laasjärvi" userId="147922e0-9e4e-413c-924b-93f8f61c2127" providerId="ADAL" clId="{A1A19594-95D5-4E6C-87CD-D5954C443742}" dt="2022-03-21T16:59:44.650" v="520"/>
          <ac:spMkLst>
            <pc:docMk/>
            <pc:sldMk cId="181922694" sldId="314"/>
            <ac:spMk id="16" creationId="{51A08CCF-255B-4C14-B7C4-1FEACBF56996}"/>
          </ac:spMkLst>
        </pc:spChg>
        <pc:spChg chg="add del mod modVis">
          <ac:chgData name="Helena Laasjärvi" userId="147922e0-9e4e-413c-924b-93f8f61c2127" providerId="ADAL" clId="{A1A19594-95D5-4E6C-87CD-D5954C443742}" dt="2022-03-21T17:01:20.748" v="571"/>
          <ac:spMkLst>
            <pc:docMk/>
            <pc:sldMk cId="181922694" sldId="314"/>
            <ac:spMk id="17" creationId="{5C1241CF-BD9C-46B8-A56F-3BD91CC3A128}"/>
          </ac:spMkLst>
        </pc:spChg>
        <pc:spChg chg="add del mod modVis">
          <ac:chgData name="Helena Laasjärvi" userId="147922e0-9e4e-413c-924b-93f8f61c2127" providerId="ADAL" clId="{A1A19594-95D5-4E6C-87CD-D5954C443742}" dt="2022-03-21T17:01:25.899" v="614"/>
          <ac:spMkLst>
            <pc:docMk/>
            <pc:sldMk cId="181922694" sldId="314"/>
            <ac:spMk id="18" creationId="{2AE9BAFC-2453-4445-80C0-956399B12084}"/>
          </ac:spMkLst>
        </pc:spChg>
        <pc:grpChg chg="mod">
          <ac:chgData name="Helena Laasjärvi" userId="147922e0-9e4e-413c-924b-93f8f61c2127" providerId="ADAL" clId="{A1A19594-95D5-4E6C-87CD-D5954C443742}" dt="2022-03-21T16:59:12.932" v="1"/>
          <ac:grpSpMkLst>
            <pc:docMk/>
            <pc:sldMk cId="181922694" sldId="314"/>
            <ac:grpSpMk id="1" creationId="{00000000-0000-0000-0000-000000000000}"/>
          </ac:grpSpMkLst>
        </pc:grpChg>
        <pc:graphicFrameChg chg="mod">
          <ac:chgData name="Helena Laasjärvi" userId="147922e0-9e4e-413c-924b-93f8f61c2127" providerId="ADAL" clId="{A1A19594-95D5-4E6C-87CD-D5954C443742}" dt="2022-03-21T17:01:25.906" v="616"/>
          <ac:graphicFrameMkLst>
            <pc:docMk/>
            <pc:sldMk cId="181922694" sldId="314"/>
            <ac:graphicFrameMk id="6" creationId="{E1BF22A5-5A57-4AF6-B247-2D8B493D9B63}"/>
          </ac:graphicFrameMkLst>
        </pc:graphicFrameChg>
        <pc:graphicFrameChg chg="mod">
          <ac:chgData name="Helena Laasjärvi" userId="147922e0-9e4e-413c-924b-93f8f61c2127" providerId="ADAL" clId="{A1A19594-95D5-4E6C-87CD-D5954C443742}" dt="2022-03-21T17:00:45.222" v="529" actId="207"/>
          <ac:graphicFrameMkLst>
            <pc:docMk/>
            <pc:sldMk cId="181922694" sldId="314"/>
            <ac:graphicFrameMk id="8" creationId="{311B8604-8FEE-42BB-AF19-CDBE2DDB3F11}"/>
          </ac:graphicFrameMkLst>
        </pc:graphicFrameChg>
        <pc:picChg chg="mod">
          <ac:chgData name="Helena Laasjärvi" userId="147922e0-9e4e-413c-924b-93f8f61c2127" providerId="ADAL" clId="{A1A19594-95D5-4E6C-87CD-D5954C443742}" dt="2022-03-21T16:59:12.932" v="1"/>
          <ac:picMkLst>
            <pc:docMk/>
            <pc:sldMk cId="181922694" sldId="314"/>
            <ac:picMk id="4" creationId="{CF47ABF3-D808-437C-99C9-B7CE14174BFD}"/>
          </ac:picMkLst>
        </pc:picChg>
      </pc:sldChg>
      <pc:sldChg chg="addSp delSp modSp add mod">
        <pc:chgData name="Helena Laasjärvi" userId="147922e0-9e4e-413c-924b-93f8f61c2127" providerId="ADAL" clId="{A1A19594-95D5-4E6C-87CD-D5954C443742}" dt="2022-03-21T17:05:34.798" v="646" actId="14100"/>
        <pc:sldMkLst>
          <pc:docMk/>
          <pc:sldMk cId="724025729" sldId="315"/>
        </pc:sldMkLst>
        <pc:spChg chg="mod">
          <ac:chgData name="Helena Laasjärvi" userId="147922e0-9e4e-413c-924b-93f8f61c2127" providerId="ADAL" clId="{A1A19594-95D5-4E6C-87CD-D5954C443742}" dt="2022-03-21T17:03:57.849" v="634"/>
          <ac:spMkLst>
            <pc:docMk/>
            <pc:sldMk cId="724025729" sldId="315"/>
            <ac:spMk id="10" creationId="{0AA9639B-B7E2-44C5-9CA4-50187E024E5F}"/>
          </ac:spMkLst>
        </pc:spChg>
        <pc:spChg chg="add del">
          <ac:chgData name="Helena Laasjärvi" userId="147922e0-9e4e-413c-924b-93f8f61c2127" providerId="ADAL" clId="{A1A19594-95D5-4E6C-87CD-D5954C443742}" dt="2022-03-21T17:03:51.983" v="633" actId="22"/>
          <ac:spMkLst>
            <pc:docMk/>
            <pc:sldMk cId="724025729" sldId="315"/>
            <ac:spMk id="11" creationId="{C209871C-0DBD-462B-BA16-574078CBB274}"/>
          </ac:spMkLst>
        </pc:spChg>
        <pc:graphicFrameChg chg="mod">
          <ac:chgData name="Helena Laasjärvi" userId="147922e0-9e4e-413c-924b-93f8f61c2127" providerId="ADAL" clId="{A1A19594-95D5-4E6C-87CD-D5954C443742}" dt="2022-03-21T17:04:58.850" v="638"/>
          <ac:graphicFrameMkLst>
            <pc:docMk/>
            <pc:sldMk cId="724025729" sldId="315"/>
            <ac:graphicFrameMk id="8" creationId="{B936F7B1-E20A-3AF0-9D08-1FF576802789}"/>
          </ac:graphicFrameMkLst>
        </pc:graphicFrameChg>
        <pc:picChg chg="add mod">
          <ac:chgData name="Helena Laasjärvi" userId="147922e0-9e4e-413c-924b-93f8f61c2127" providerId="ADAL" clId="{A1A19594-95D5-4E6C-87CD-D5954C443742}" dt="2022-03-21T17:05:28.425" v="645" actId="1076"/>
          <ac:picMkLst>
            <pc:docMk/>
            <pc:sldMk cId="724025729" sldId="315"/>
            <ac:picMk id="5" creationId="{E3B9501E-8B2F-48F9-9B9D-C01681388980}"/>
          </ac:picMkLst>
        </pc:picChg>
        <pc:picChg chg="mod">
          <ac:chgData name="Helena Laasjärvi" userId="147922e0-9e4e-413c-924b-93f8f61c2127" providerId="ADAL" clId="{A1A19594-95D5-4E6C-87CD-D5954C443742}" dt="2022-03-21T17:05:34.798" v="646" actId="14100"/>
          <ac:picMkLst>
            <pc:docMk/>
            <pc:sldMk cId="724025729" sldId="315"/>
            <ac:picMk id="6" creationId="{9D1B725A-9F7F-4A5F-A8A5-52289C013BBA}"/>
          </ac:picMkLst>
        </pc:picChg>
      </pc:sldChg>
      <pc:sldChg chg="addSp delSp modSp add mod">
        <pc:chgData name="Helena Laasjärvi" userId="147922e0-9e4e-413c-924b-93f8f61c2127" providerId="ADAL" clId="{A1A19594-95D5-4E6C-87CD-D5954C443742}" dt="2022-03-21T17:20:11.690" v="863" actId="255"/>
        <pc:sldMkLst>
          <pc:docMk/>
          <pc:sldMk cId="3149145955" sldId="316"/>
        </pc:sldMkLst>
        <pc:spChg chg="mod">
          <ac:chgData name="Helena Laasjärvi" userId="147922e0-9e4e-413c-924b-93f8f61c2127" providerId="ADAL" clId="{A1A19594-95D5-4E6C-87CD-D5954C443742}" dt="2022-03-21T17:20:11.690" v="863" actId="255"/>
          <ac:spMkLst>
            <pc:docMk/>
            <pc:sldMk cId="3149145955" sldId="316"/>
            <ac:spMk id="10" creationId="{0AA9639B-B7E2-44C5-9CA4-50187E024E5F}"/>
          </ac:spMkLst>
        </pc:spChg>
        <pc:spChg chg="del">
          <ac:chgData name="Helena Laasjärvi" userId="147922e0-9e4e-413c-924b-93f8f61c2127" providerId="ADAL" clId="{A1A19594-95D5-4E6C-87CD-D5954C443742}" dt="2022-03-21T17:08:42.302" v="670" actId="26606"/>
          <ac:spMkLst>
            <pc:docMk/>
            <pc:sldMk cId="3149145955" sldId="316"/>
            <ac:spMk id="59" creationId="{131BAD53-4E89-4F62-BBB7-26359763ED39}"/>
          </ac:spMkLst>
        </pc:spChg>
        <pc:spChg chg="del">
          <ac:chgData name="Helena Laasjärvi" userId="147922e0-9e4e-413c-924b-93f8f61c2127" providerId="ADAL" clId="{A1A19594-95D5-4E6C-87CD-D5954C443742}" dt="2022-03-21T17:08:42.302" v="670" actId="26606"/>
          <ac:spMkLst>
            <pc:docMk/>
            <pc:sldMk cId="3149145955" sldId="316"/>
            <ac:spMk id="61" creationId="{62756DA2-40EB-4C6F-B962-5822FFB54FB6}"/>
          </ac:spMkLst>
        </pc:spChg>
        <pc:spChg chg="add">
          <ac:chgData name="Helena Laasjärvi" userId="147922e0-9e4e-413c-924b-93f8f61c2127" providerId="ADAL" clId="{A1A19594-95D5-4E6C-87CD-D5954C443742}" dt="2022-03-21T17:08:42.302" v="670" actId="26606"/>
          <ac:spMkLst>
            <pc:docMk/>
            <pc:sldMk cId="3149145955" sldId="316"/>
            <ac:spMk id="66" creationId="{F821940F-7A1D-4ACC-85B4-A932898ABB37}"/>
          </ac:spMkLst>
        </pc:spChg>
        <pc:spChg chg="add">
          <ac:chgData name="Helena Laasjärvi" userId="147922e0-9e4e-413c-924b-93f8f61c2127" providerId="ADAL" clId="{A1A19594-95D5-4E6C-87CD-D5954C443742}" dt="2022-03-21T17:08:42.302" v="670" actId="26606"/>
          <ac:spMkLst>
            <pc:docMk/>
            <pc:sldMk cId="3149145955" sldId="316"/>
            <ac:spMk id="68" creationId="{16674508-81D3-48CF-96BF-7FC60EAA572A}"/>
          </ac:spMkLst>
        </pc:spChg>
        <pc:graphicFrameChg chg="mod modGraphic">
          <ac:chgData name="Helena Laasjärvi" userId="147922e0-9e4e-413c-924b-93f8f61c2127" providerId="ADAL" clId="{A1A19594-95D5-4E6C-87CD-D5954C443742}" dt="2022-03-21T17:11:51.937" v="695" actId="1076"/>
          <ac:graphicFrameMkLst>
            <pc:docMk/>
            <pc:sldMk cId="3149145955" sldId="316"/>
            <ac:graphicFrameMk id="8" creationId="{B936F7B1-E20A-3AF0-9D08-1FF576802789}"/>
          </ac:graphicFrameMkLst>
        </pc:graphicFrameChg>
        <pc:picChg chg="del">
          <ac:chgData name="Helena Laasjärvi" userId="147922e0-9e4e-413c-924b-93f8f61c2127" providerId="ADAL" clId="{A1A19594-95D5-4E6C-87CD-D5954C443742}" dt="2022-03-21T17:06:40.538" v="653" actId="478"/>
          <ac:picMkLst>
            <pc:docMk/>
            <pc:sldMk cId="3149145955" sldId="316"/>
            <ac:picMk id="5" creationId="{E3B9501E-8B2F-48F9-9B9D-C01681388980}"/>
          </ac:picMkLst>
        </pc:picChg>
        <pc:picChg chg="mod">
          <ac:chgData name="Helena Laasjärvi" userId="147922e0-9e4e-413c-924b-93f8f61c2127" providerId="ADAL" clId="{A1A19594-95D5-4E6C-87CD-D5954C443742}" dt="2022-03-21T17:08:42.302" v="670" actId="26606"/>
          <ac:picMkLst>
            <pc:docMk/>
            <pc:sldMk cId="3149145955" sldId="316"/>
            <ac:picMk id="6" creationId="{9D1B725A-9F7F-4A5F-A8A5-52289C013BBA}"/>
          </ac:picMkLst>
        </pc:picChg>
      </pc:sldChg>
      <pc:sldChg chg="addSp delSp modSp add mod ord">
        <pc:chgData name="Helena Laasjärvi" userId="147922e0-9e4e-413c-924b-93f8f61c2127" providerId="ADAL" clId="{A1A19594-95D5-4E6C-87CD-D5954C443742}" dt="2022-03-21T17:20:26.974" v="864" actId="1076"/>
        <pc:sldMkLst>
          <pc:docMk/>
          <pc:sldMk cId="863750448" sldId="317"/>
        </pc:sldMkLst>
        <pc:spChg chg="mod">
          <ac:chgData name="Helena Laasjärvi" userId="147922e0-9e4e-413c-924b-93f8f61c2127" providerId="ADAL" clId="{A1A19594-95D5-4E6C-87CD-D5954C443742}" dt="2022-03-21T17:12:09.440" v="740" actId="948"/>
          <ac:spMkLst>
            <pc:docMk/>
            <pc:sldMk cId="863750448" sldId="317"/>
            <ac:spMk id="2" creationId="{00000000-0000-0000-0000-000000000000}"/>
          </ac:spMkLst>
        </pc:spChg>
        <pc:spChg chg="add del mod modVis">
          <ac:chgData name="Helena Laasjärvi" userId="147922e0-9e4e-413c-924b-93f8f61c2127" providerId="ADAL" clId="{A1A19594-95D5-4E6C-87CD-D5954C443742}" dt="2022-03-21T17:12:04.990" v="736"/>
          <ac:spMkLst>
            <pc:docMk/>
            <pc:sldMk cId="863750448" sldId="317"/>
            <ac:spMk id="3" creationId="{8F2F2B6C-50FA-42EF-95EF-12F31A8CDDE1}"/>
          </ac:spMkLst>
        </pc:spChg>
        <pc:spChg chg="add del mod modVis">
          <ac:chgData name="Helena Laasjärvi" userId="147922e0-9e4e-413c-924b-93f8f61c2127" providerId="ADAL" clId="{A1A19594-95D5-4E6C-87CD-D5954C443742}" dt="2022-03-21T17:12:09.494" v="779"/>
          <ac:spMkLst>
            <pc:docMk/>
            <pc:sldMk cId="863750448" sldId="317"/>
            <ac:spMk id="5" creationId="{FD9B7CE2-9D00-4D86-B42B-C067DC2A7333}"/>
          </ac:spMkLst>
        </pc:spChg>
        <pc:grpChg chg="mod">
          <ac:chgData name="Helena Laasjärvi" userId="147922e0-9e4e-413c-924b-93f8f61c2127" providerId="ADAL" clId="{A1A19594-95D5-4E6C-87CD-D5954C443742}" dt="2022-03-21T17:08:01.834" v="667"/>
          <ac:grpSpMkLst>
            <pc:docMk/>
            <pc:sldMk cId="863750448" sldId="317"/>
            <ac:grpSpMk id="1" creationId="{00000000-0000-0000-0000-000000000000}"/>
          </ac:grpSpMkLst>
        </pc:grpChg>
        <pc:graphicFrameChg chg="mod">
          <ac:chgData name="Helena Laasjärvi" userId="147922e0-9e4e-413c-924b-93f8f61c2127" providerId="ADAL" clId="{A1A19594-95D5-4E6C-87CD-D5954C443742}" dt="2022-03-21T17:12:09.509" v="781"/>
          <ac:graphicFrameMkLst>
            <pc:docMk/>
            <pc:sldMk cId="863750448" sldId="317"/>
            <ac:graphicFrameMk id="6" creationId="{E1BF22A5-5A57-4AF6-B247-2D8B493D9B63}"/>
          </ac:graphicFrameMkLst>
        </pc:graphicFrameChg>
        <pc:graphicFrameChg chg="mod">
          <ac:chgData name="Helena Laasjärvi" userId="147922e0-9e4e-413c-924b-93f8f61c2127" providerId="ADAL" clId="{A1A19594-95D5-4E6C-87CD-D5954C443742}" dt="2022-03-21T17:20:26.974" v="864" actId="1076"/>
          <ac:graphicFrameMkLst>
            <pc:docMk/>
            <pc:sldMk cId="863750448" sldId="317"/>
            <ac:graphicFrameMk id="8" creationId="{311B8604-8FEE-42BB-AF19-CDBE2DDB3F11}"/>
          </ac:graphicFrameMkLst>
        </pc:graphicFrameChg>
        <pc:picChg chg="mod">
          <ac:chgData name="Helena Laasjärvi" userId="147922e0-9e4e-413c-924b-93f8f61c2127" providerId="ADAL" clId="{A1A19594-95D5-4E6C-87CD-D5954C443742}" dt="2022-03-21T17:08:01.834" v="667"/>
          <ac:picMkLst>
            <pc:docMk/>
            <pc:sldMk cId="863750448" sldId="317"/>
            <ac:picMk id="4" creationId="{CF47ABF3-D808-437C-99C9-B7CE14174BFD}"/>
          </ac:picMkLst>
        </pc:picChg>
      </pc:sldChg>
      <pc:sldChg chg="modSp add del mod ord">
        <pc:chgData name="Helena Laasjärvi" userId="147922e0-9e4e-413c-924b-93f8f61c2127" providerId="ADAL" clId="{A1A19594-95D5-4E6C-87CD-D5954C443742}" dt="2022-03-21T17:15:23.357" v="820" actId="2696"/>
        <pc:sldMkLst>
          <pc:docMk/>
          <pc:sldMk cId="2958356416" sldId="318"/>
        </pc:sldMkLst>
        <pc:spChg chg="mod">
          <ac:chgData name="Helena Laasjärvi" userId="147922e0-9e4e-413c-924b-93f8f61c2127" providerId="ADAL" clId="{A1A19594-95D5-4E6C-87CD-D5954C443742}" dt="2022-03-21T17:13:48.557" v="795" actId="14100"/>
          <ac:spMkLst>
            <pc:docMk/>
            <pc:sldMk cId="2958356416" sldId="318"/>
            <ac:spMk id="10" creationId="{0AA9639B-B7E2-44C5-9CA4-50187E024E5F}"/>
          </ac:spMkLst>
        </pc:spChg>
        <pc:picChg chg="mod">
          <ac:chgData name="Helena Laasjärvi" userId="147922e0-9e4e-413c-924b-93f8f61c2127" providerId="ADAL" clId="{A1A19594-95D5-4E6C-87CD-D5954C443742}" dt="2022-03-21T17:14:35.870" v="796" actId="14826"/>
          <ac:picMkLst>
            <pc:docMk/>
            <pc:sldMk cId="2958356416" sldId="318"/>
            <ac:picMk id="6" creationId="{9D1B725A-9F7F-4A5F-A8A5-52289C013BBA}"/>
          </ac:picMkLst>
        </pc:picChg>
      </pc:sldChg>
      <pc:sldChg chg="modSp add mod ord">
        <pc:chgData name="Helena Laasjärvi" userId="147922e0-9e4e-413c-924b-93f8f61c2127" providerId="ADAL" clId="{A1A19594-95D5-4E6C-87CD-D5954C443742}" dt="2022-03-21T17:15:02.364" v="819" actId="20577"/>
        <pc:sldMkLst>
          <pc:docMk/>
          <pc:sldMk cId="1594535289" sldId="319"/>
        </pc:sldMkLst>
        <pc:spChg chg="mod">
          <ac:chgData name="Helena Laasjärvi" userId="147922e0-9e4e-413c-924b-93f8f61c2127" providerId="ADAL" clId="{A1A19594-95D5-4E6C-87CD-D5954C443742}" dt="2022-03-21T17:15:02.364" v="819" actId="20577"/>
          <ac:spMkLst>
            <pc:docMk/>
            <pc:sldMk cId="1594535289" sldId="319"/>
            <ac:spMk id="10" creationId="{0AA9639B-B7E2-44C5-9CA4-50187E024E5F}"/>
          </ac:spMkLst>
        </pc:spChg>
        <pc:picChg chg="mod">
          <ac:chgData name="Helena Laasjärvi" userId="147922e0-9e4e-413c-924b-93f8f61c2127" providerId="ADAL" clId="{A1A19594-95D5-4E6C-87CD-D5954C443742}" dt="2022-03-21T17:14:54.572" v="801" actId="14826"/>
          <ac:picMkLst>
            <pc:docMk/>
            <pc:sldMk cId="1594535289" sldId="319"/>
            <ac:picMk id="6" creationId="{9D1B725A-9F7F-4A5F-A8A5-52289C013BBA}"/>
          </ac:picMkLst>
        </pc:picChg>
      </pc:sldChg>
      <pc:sldChg chg="modSp add mod ord">
        <pc:chgData name="Helena Laasjärvi" userId="147922e0-9e4e-413c-924b-93f8f61c2127" providerId="ADAL" clId="{A1A19594-95D5-4E6C-87CD-D5954C443742}" dt="2022-03-21T17:16:19.262" v="833" actId="20577"/>
        <pc:sldMkLst>
          <pc:docMk/>
          <pc:sldMk cId="2851854799" sldId="320"/>
        </pc:sldMkLst>
        <pc:spChg chg="mod">
          <ac:chgData name="Helena Laasjärvi" userId="147922e0-9e4e-413c-924b-93f8f61c2127" providerId="ADAL" clId="{A1A19594-95D5-4E6C-87CD-D5954C443742}" dt="2022-03-21T17:16:19.262" v="833" actId="20577"/>
          <ac:spMkLst>
            <pc:docMk/>
            <pc:sldMk cId="2851854799" sldId="320"/>
            <ac:spMk id="10" creationId="{0AA9639B-B7E2-44C5-9CA4-50187E024E5F}"/>
          </ac:spMkLst>
        </pc:spChg>
        <pc:picChg chg="mod">
          <ac:chgData name="Helena Laasjärvi" userId="147922e0-9e4e-413c-924b-93f8f61c2127" providerId="ADAL" clId="{A1A19594-95D5-4E6C-87CD-D5954C443742}" dt="2022-03-21T17:16:11.380" v="825" actId="14826"/>
          <ac:picMkLst>
            <pc:docMk/>
            <pc:sldMk cId="2851854799" sldId="320"/>
            <ac:picMk id="6" creationId="{9D1B725A-9F7F-4A5F-A8A5-52289C013BBA}"/>
          </ac:picMkLst>
        </pc:picChg>
      </pc:sldChg>
      <pc:sldChg chg="addSp modSp add mod">
        <pc:chgData name="Helena Laasjärvi" userId="147922e0-9e4e-413c-924b-93f8f61c2127" providerId="ADAL" clId="{A1A19594-95D5-4E6C-87CD-D5954C443742}" dt="2022-03-21T17:17:48.100" v="857"/>
        <pc:sldMkLst>
          <pc:docMk/>
          <pc:sldMk cId="31896352" sldId="321"/>
        </pc:sldMkLst>
        <pc:spChg chg="mod">
          <ac:chgData name="Helena Laasjärvi" userId="147922e0-9e4e-413c-924b-93f8f61c2127" providerId="ADAL" clId="{A1A19594-95D5-4E6C-87CD-D5954C443742}" dt="2022-03-21T17:17:48.100" v="855" actId="948"/>
          <ac:spMkLst>
            <pc:docMk/>
            <pc:sldMk cId="31896352" sldId="321"/>
            <ac:spMk id="2" creationId="{00000000-0000-0000-0000-000000000000}"/>
          </ac:spMkLst>
        </pc:spChg>
        <pc:graphicFrameChg chg="add mod ord modVis">
          <ac:chgData name="Helena Laasjärvi" userId="147922e0-9e4e-413c-924b-93f8f61c2127" providerId="ADAL" clId="{A1A19594-95D5-4E6C-87CD-D5954C443742}" dt="2022-03-21T17:17:48.100" v="857"/>
          <ac:graphicFrameMkLst>
            <pc:docMk/>
            <pc:sldMk cId="31896352" sldId="321"/>
            <ac:graphicFrameMk id="3" creationId="{E23B38B6-C474-4478-B461-DDE3DD760AB1}"/>
          </ac:graphicFrameMkLst>
        </pc:graphicFrameChg>
      </pc:sldChg>
    </pc:docChg>
  </pc:docChgLst>
</pc:chgInfo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colorful5">
  <dgm:title val=""/>
  <dgm:desc val=""/>
  <dgm:catLst>
    <dgm:cat type="colorful" pri="105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/>
      <a:schemeClr val="accent6"/>
    </dgm:fillClrLst>
    <dgm:linClrLst>
      <a:schemeClr val="accent5"/>
      <a:schemeClr val="accent6"/>
    </dgm:linClrLst>
    <dgm:effectClrLst/>
    <dgm:txLinClrLst/>
    <dgm:txFillClrLst/>
    <dgm:txEffectClrLst/>
  </dgm:styleLbl>
  <dgm:styleLbl name="ln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colorful5">
  <dgm:title val=""/>
  <dgm:desc val=""/>
  <dgm:catLst>
    <dgm:cat type="colorful" pri="105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/>
      <a:schemeClr val="accent6"/>
    </dgm:fillClrLst>
    <dgm:linClrLst>
      <a:schemeClr val="accent5"/>
      <a:schemeClr val="accent6"/>
    </dgm:linClrLst>
    <dgm:effectClrLst/>
    <dgm:txLinClrLst/>
    <dgm:txFillClrLst/>
    <dgm:txEffectClrLst/>
  </dgm:styleLbl>
  <dgm:styleLbl name="ln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3_2">
  <dgm:title val=""/>
  <dgm:desc val=""/>
  <dgm:catLst>
    <dgm:cat type="accent3" pri="11200"/>
  </dgm:catLst>
  <dgm:styleLbl name="node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3"/>
    </dgm:fillClrLst>
    <dgm:linClrLst meth="repeat">
      <a:schemeClr val="accent3"/>
    </dgm:linClrLst>
    <dgm:effectClrLst/>
    <dgm:txLinClrLst/>
    <dgm:txFillClrLst/>
    <dgm:txEffectClrLst/>
  </dgm:styleLbl>
  <dgm:styleLbl name="lnNode1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/>
    </dgm:fillClrLst>
    <dgm:linClrLst meth="repeat">
      <a:schemeClr val="accent3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3"/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3"/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3">
        <a:alpha val="90000"/>
        <a:tint val="40000"/>
      </a:schemeClr>
    </dgm:fillClrLst>
    <dgm:linClrLst meth="repeat">
      <a:schemeClr val="accent3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3">
        <a:alpha val="90000"/>
        <a:tint val="40000"/>
      </a:schemeClr>
    </dgm:fillClrLst>
    <dgm:linClrLst meth="repeat">
      <a:schemeClr val="accent3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3">
        <a:alpha val="90000"/>
        <a:tint val="40000"/>
      </a:schemeClr>
    </dgm:fillClrLst>
    <dgm:linClrLst meth="repeat">
      <a:schemeClr val="accent3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8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3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2DD9BEDF-B9E2-4ABA-A056-FFA32216D3C8}" type="doc">
      <dgm:prSet loTypeId="urn:microsoft.com/office/officeart/2005/8/layout/vList2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fi-FI"/>
        </a:p>
      </dgm:t>
    </dgm:pt>
    <dgm:pt modelId="{FDB40630-942D-4475-833B-DC48C1B2AEF9}">
      <dgm:prSet/>
      <dgm:spPr>
        <a:solidFill>
          <a:srgbClr val="EC008C"/>
        </a:solidFill>
      </dgm:spPr>
      <dgm:t>
        <a:bodyPr/>
        <a:lstStyle/>
        <a:p>
          <a:r>
            <a:rPr lang="fi-FI" dirty="0"/>
            <a:t>glukoosi on solujen tavallisin energialähde</a:t>
          </a:r>
        </a:p>
      </dgm:t>
    </dgm:pt>
    <dgm:pt modelId="{EB145E02-B538-4AA7-871E-FA081BB24459}" type="parTrans" cxnId="{23C85598-1ECE-4744-A81F-1D8281EE6A25}">
      <dgm:prSet/>
      <dgm:spPr/>
      <dgm:t>
        <a:bodyPr/>
        <a:lstStyle/>
        <a:p>
          <a:endParaRPr lang="fi-FI"/>
        </a:p>
      </dgm:t>
    </dgm:pt>
    <dgm:pt modelId="{0E1C6016-7DEB-4E2F-9797-C18C672777F4}" type="sibTrans" cxnId="{23C85598-1ECE-4744-A81F-1D8281EE6A25}">
      <dgm:prSet/>
      <dgm:spPr/>
      <dgm:t>
        <a:bodyPr/>
        <a:lstStyle/>
        <a:p>
          <a:endParaRPr lang="fi-FI"/>
        </a:p>
      </dgm:t>
    </dgm:pt>
    <dgm:pt modelId="{70EEA87C-3A5F-4F6F-8271-07F53B43CBE7}">
      <dgm:prSet/>
      <dgm:spPr>
        <a:solidFill>
          <a:srgbClr val="F27CB1"/>
        </a:solidFill>
      </dgm:spPr>
      <dgm:t>
        <a:bodyPr/>
        <a:lstStyle/>
        <a:p>
          <a:r>
            <a:rPr lang="fi-FI" dirty="0"/>
            <a:t>sekä omavaraiset että </a:t>
          </a:r>
          <a:r>
            <a:rPr lang="fi-FI" dirty="0" err="1"/>
            <a:t>toisenvaraiset</a:t>
          </a:r>
          <a:r>
            <a:rPr lang="fi-FI" dirty="0"/>
            <a:t> solut vapauttavat energiaa käyttöönsä orgaanisista yhdisteistä </a:t>
          </a:r>
          <a:endParaRPr lang="fi-FI" dirty="0">
            <a:cs typeface="Calibri"/>
          </a:endParaRPr>
        </a:p>
      </dgm:t>
    </dgm:pt>
    <dgm:pt modelId="{E8B16D67-EA44-4FDF-BAAE-810508DE9F96}" type="parTrans" cxnId="{D02A2098-9524-4CC2-B900-DB0640FE2AD5}">
      <dgm:prSet/>
      <dgm:spPr/>
      <dgm:t>
        <a:bodyPr/>
        <a:lstStyle/>
        <a:p>
          <a:endParaRPr lang="fi-FI"/>
        </a:p>
      </dgm:t>
    </dgm:pt>
    <dgm:pt modelId="{41115C90-7609-40B1-955A-18D3F8EDFBA0}" type="sibTrans" cxnId="{D02A2098-9524-4CC2-B900-DB0640FE2AD5}">
      <dgm:prSet/>
      <dgm:spPr/>
      <dgm:t>
        <a:bodyPr/>
        <a:lstStyle/>
        <a:p>
          <a:endParaRPr lang="fi-FI"/>
        </a:p>
      </dgm:t>
    </dgm:pt>
    <dgm:pt modelId="{0F403E0B-363D-4F0E-AEDA-00DCDD52DEA7}">
      <dgm:prSet/>
      <dgm:spPr>
        <a:solidFill>
          <a:srgbClr val="F599C3"/>
        </a:solidFill>
      </dgm:spPr>
      <dgm:t>
        <a:bodyPr/>
        <a:lstStyle/>
        <a:p>
          <a:r>
            <a:rPr lang="fi-FI" dirty="0"/>
            <a:t>hapellisissa oloissa energian vapautus tapahtuu soluhengityksessä </a:t>
          </a:r>
          <a:endParaRPr lang="fi-FI" dirty="0">
            <a:cs typeface="Calibri"/>
          </a:endParaRPr>
        </a:p>
      </dgm:t>
    </dgm:pt>
    <dgm:pt modelId="{C84967E1-D49F-41C9-8B5C-D781236AA799}" type="parTrans" cxnId="{C80CC893-BD73-4758-B94D-E3B544B31B63}">
      <dgm:prSet/>
      <dgm:spPr/>
      <dgm:t>
        <a:bodyPr/>
        <a:lstStyle/>
        <a:p>
          <a:endParaRPr lang="fi-FI"/>
        </a:p>
      </dgm:t>
    </dgm:pt>
    <dgm:pt modelId="{012731AF-0BC3-4CD7-BB24-95AD7CBD13FE}" type="sibTrans" cxnId="{C80CC893-BD73-4758-B94D-E3B544B31B63}">
      <dgm:prSet/>
      <dgm:spPr/>
      <dgm:t>
        <a:bodyPr/>
        <a:lstStyle/>
        <a:p>
          <a:endParaRPr lang="fi-FI"/>
        </a:p>
      </dgm:t>
    </dgm:pt>
    <dgm:pt modelId="{006BF539-B18B-4672-913C-30628D44579F}">
      <dgm:prSet/>
      <dgm:spPr>
        <a:solidFill>
          <a:srgbClr val="F9C3DB"/>
        </a:solidFill>
      </dgm:spPr>
      <dgm:t>
        <a:bodyPr/>
        <a:lstStyle/>
        <a:p>
          <a:r>
            <a:rPr lang="fi-FI" dirty="0"/>
            <a:t>hapettomissa olissa energian vapautus tapahtuu käymisreaktiossa</a:t>
          </a:r>
          <a:endParaRPr lang="fi-FI" dirty="0">
            <a:cs typeface="Calibri"/>
          </a:endParaRPr>
        </a:p>
      </dgm:t>
    </dgm:pt>
    <dgm:pt modelId="{D2EAE1EC-B44A-4A77-AB3A-948555ACA079}" type="parTrans" cxnId="{A767A446-BC7C-42C0-8657-85F04DFBA030}">
      <dgm:prSet/>
      <dgm:spPr/>
      <dgm:t>
        <a:bodyPr/>
        <a:lstStyle/>
        <a:p>
          <a:endParaRPr lang="fi-FI"/>
        </a:p>
      </dgm:t>
    </dgm:pt>
    <dgm:pt modelId="{C314D4F0-DE89-44FE-B196-571916A4B61B}" type="sibTrans" cxnId="{A767A446-BC7C-42C0-8657-85F04DFBA030}">
      <dgm:prSet/>
      <dgm:spPr/>
      <dgm:t>
        <a:bodyPr/>
        <a:lstStyle/>
        <a:p>
          <a:endParaRPr lang="fi-FI"/>
        </a:p>
      </dgm:t>
    </dgm:pt>
    <dgm:pt modelId="{2A2F781F-16C1-4D29-B08D-ACB557B90863}" type="pres">
      <dgm:prSet presAssocID="{2DD9BEDF-B9E2-4ABA-A056-FFA32216D3C8}" presName="linear" presStyleCnt="0">
        <dgm:presLayoutVars>
          <dgm:animLvl val="lvl"/>
          <dgm:resizeHandles val="exact"/>
        </dgm:presLayoutVars>
      </dgm:prSet>
      <dgm:spPr/>
    </dgm:pt>
    <dgm:pt modelId="{A033DC3D-C63F-43D1-8859-07FC97577F71}" type="pres">
      <dgm:prSet presAssocID="{FDB40630-942D-4475-833B-DC48C1B2AEF9}" presName="parentText" presStyleLbl="node1" presStyleIdx="0" presStyleCnt="4">
        <dgm:presLayoutVars>
          <dgm:chMax val="0"/>
          <dgm:bulletEnabled val="1"/>
        </dgm:presLayoutVars>
      </dgm:prSet>
      <dgm:spPr/>
    </dgm:pt>
    <dgm:pt modelId="{786D5744-4016-4336-AC72-5D6D8FE2A223}" type="pres">
      <dgm:prSet presAssocID="{0E1C6016-7DEB-4E2F-9797-C18C672777F4}" presName="spacer" presStyleCnt="0"/>
      <dgm:spPr/>
    </dgm:pt>
    <dgm:pt modelId="{528E58FA-D514-4974-95F1-C3A81A6CC8AA}" type="pres">
      <dgm:prSet presAssocID="{70EEA87C-3A5F-4F6F-8271-07F53B43CBE7}" presName="parentText" presStyleLbl="node1" presStyleIdx="1" presStyleCnt="4">
        <dgm:presLayoutVars>
          <dgm:chMax val="0"/>
          <dgm:bulletEnabled val="1"/>
        </dgm:presLayoutVars>
      </dgm:prSet>
      <dgm:spPr/>
    </dgm:pt>
    <dgm:pt modelId="{9EECDDC0-ACFC-44B1-AFA9-F64986581C50}" type="pres">
      <dgm:prSet presAssocID="{41115C90-7609-40B1-955A-18D3F8EDFBA0}" presName="spacer" presStyleCnt="0"/>
      <dgm:spPr/>
    </dgm:pt>
    <dgm:pt modelId="{424E4846-D5F1-43E2-A1A2-0D91359A85CD}" type="pres">
      <dgm:prSet presAssocID="{0F403E0B-363D-4F0E-AEDA-00DCDD52DEA7}" presName="parentText" presStyleLbl="node1" presStyleIdx="2" presStyleCnt="4">
        <dgm:presLayoutVars>
          <dgm:chMax val="0"/>
          <dgm:bulletEnabled val="1"/>
        </dgm:presLayoutVars>
      </dgm:prSet>
      <dgm:spPr/>
    </dgm:pt>
    <dgm:pt modelId="{932D59AF-5B67-49EF-82D5-F050D3BC03F7}" type="pres">
      <dgm:prSet presAssocID="{012731AF-0BC3-4CD7-BB24-95AD7CBD13FE}" presName="spacer" presStyleCnt="0"/>
      <dgm:spPr/>
    </dgm:pt>
    <dgm:pt modelId="{670C3138-35C4-4325-817E-26AD5BE05F94}" type="pres">
      <dgm:prSet presAssocID="{006BF539-B18B-4672-913C-30628D44579F}" presName="parentText" presStyleLbl="node1" presStyleIdx="3" presStyleCnt="4">
        <dgm:presLayoutVars>
          <dgm:chMax val="0"/>
          <dgm:bulletEnabled val="1"/>
        </dgm:presLayoutVars>
      </dgm:prSet>
      <dgm:spPr/>
    </dgm:pt>
  </dgm:ptLst>
  <dgm:cxnLst>
    <dgm:cxn modelId="{A767A446-BC7C-42C0-8657-85F04DFBA030}" srcId="{2DD9BEDF-B9E2-4ABA-A056-FFA32216D3C8}" destId="{006BF539-B18B-4672-913C-30628D44579F}" srcOrd="3" destOrd="0" parTransId="{D2EAE1EC-B44A-4A77-AB3A-948555ACA079}" sibTransId="{C314D4F0-DE89-44FE-B196-571916A4B61B}"/>
    <dgm:cxn modelId="{AFF19272-9673-4B01-A58E-80B89B60D889}" type="presOf" srcId="{0F403E0B-363D-4F0E-AEDA-00DCDD52DEA7}" destId="{424E4846-D5F1-43E2-A1A2-0D91359A85CD}" srcOrd="0" destOrd="0" presId="urn:microsoft.com/office/officeart/2005/8/layout/vList2"/>
    <dgm:cxn modelId="{C80CC893-BD73-4758-B94D-E3B544B31B63}" srcId="{2DD9BEDF-B9E2-4ABA-A056-FFA32216D3C8}" destId="{0F403E0B-363D-4F0E-AEDA-00DCDD52DEA7}" srcOrd="2" destOrd="0" parTransId="{C84967E1-D49F-41C9-8B5C-D781236AA799}" sibTransId="{012731AF-0BC3-4CD7-BB24-95AD7CBD13FE}"/>
    <dgm:cxn modelId="{D02A2098-9524-4CC2-B900-DB0640FE2AD5}" srcId="{2DD9BEDF-B9E2-4ABA-A056-FFA32216D3C8}" destId="{70EEA87C-3A5F-4F6F-8271-07F53B43CBE7}" srcOrd="1" destOrd="0" parTransId="{E8B16D67-EA44-4FDF-BAAE-810508DE9F96}" sibTransId="{41115C90-7609-40B1-955A-18D3F8EDFBA0}"/>
    <dgm:cxn modelId="{23C85598-1ECE-4744-A81F-1D8281EE6A25}" srcId="{2DD9BEDF-B9E2-4ABA-A056-FFA32216D3C8}" destId="{FDB40630-942D-4475-833B-DC48C1B2AEF9}" srcOrd="0" destOrd="0" parTransId="{EB145E02-B538-4AA7-871E-FA081BB24459}" sibTransId="{0E1C6016-7DEB-4E2F-9797-C18C672777F4}"/>
    <dgm:cxn modelId="{0B96E8A4-ABD7-4CA2-9604-5B31470831CF}" type="presOf" srcId="{70EEA87C-3A5F-4F6F-8271-07F53B43CBE7}" destId="{528E58FA-D514-4974-95F1-C3A81A6CC8AA}" srcOrd="0" destOrd="0" presId="urn:microsoft.com/office/officeart/2005/8/layout/vList2"/>
    <dgm:cxn modelId="{B93EFCA9-9C52-4512-A86A-60FED176183B}" type="presOf" srcId="{006BF539-B18B-4672-913C-30628D44579F}" destId="{670C3138-35C4-4325-817E-26AD5BE05F94}" srcOrd="0" destOrd="0" presId="urn:microsoft.com/office/officeart/2005/8/layout/vList2"/>
    <dgm:cxn modelId="{90BED6AB-2622-4A47-8DD0-AEDA6876D029}" type="presOf" srcId="{FDB40630-942D-4475-833B-DC48C1B2AEF9}" destId="{A033DC3D-C63F-43D1-8859-07FC97577F71}" srcOrd="0" destOrd="0" presId="urn:microsoft.com/office/officeart/2005/8/layout/vList2"/>
    <dgm:cxn modelId="{80B36DC0-A1CA-42E5-B78A-79BFF3C79841}" type="presOf" srcId="{2DD9BEDF-B9E2-4ABA-A056-FFA32216D3C8}" destId="{2A2F781F-16C1-4D29-B08D-ACB557B90863}" srcOrd="0" destOrd="0" presId="urn:microsoft.com/office/officeart/2005/8/layout/vList2"/>
    <dgm:cxn modelId="{D71AE3A6-9161-4990-8BB5-0D4ADB2D81C5}" type="presParOf" srcId="{2A2F781F-16C1-4D29-B08D-ACB557B90863}" destId="{A033DC3D-C63F-43D1-8859-07FC97577F71}" srcOrd="0" destOrd="0" presId="urn:microsoft.com/office/officeart/2005/8/layout/vList2"/>
    <dgm:cxn modelId="{46B33FCB-185D-48A5-824F-644AE3B2D45D}" type="presParOf" srcId="{2A2F781F-16C1-4D29-B08D-ACB557B90863}" destId="{786D5744-4016-4336-AC72-5D6D8FE2A223}" srcOrd="1" destOrd="0" presId="urn:microsoft.com/office/officeart/2005/8/layout/vList2"/>
    <dgm:cxn modelId="{CC3D9EA9-228B-4C19-A79A-0B22772DAFBF}" type="presParOf" srcId="{2A2F781F-16C1-4D29-B08D-ACB557B90863}" destId="{528E58FA-D514-4974-95F1-C3A81A6CC8AA}" srcOrd="2" destOrd="0" presId="urn:microsoft.com/office/officeart/2005/8/layout/vList2"/>
    <dgm:cxn modelId="{8AC412D6-AD39-4842-8077-1A61BD524E8D}" type="presParOf" srcId="{2A2F781F-16C1-4D29-B08D-ACB557B90863}" destId="{9EECDDC0-ACFC-44B1-AFA9-F64986581C50}" srcOrd="3" destOrd="0" presId="urn:microsoft.com/office/officeart/2005/8/layout/vList2"/>
    <dgm:cxn modelId="{15477107-7060-4BAD-93F6-87CFC332EF52}" type="presParOf" srcId="{2A2F781F-16C1-4D29-B08D-ACB557B90863}" destId="{424E4846-D5F1-43E2-A1A2-0D91359A85CD}" srcOrd="4" destOrd="0" presId="urn:microsoft.com/office/officeart/2005/8/layout/vList2"/>
    <dgm:cxn modelId="{34D61EBC-866F-4CDE-9B95-8AB10D09A425}" type="presParOf" srcId="{2A2F781F-16C1-4D29-B08D-ACB557B90863}" destId="{932D59AF-5B67-49EF-82D5-F050D3BC03F7}" srcOrd="5" destOrd="0" presId="urn:microsoft.com/office/officeart/2005/8/layout/vList2"/>
    <dgm:cxn modelId="{D22F0AAB-6206-44A2-B31F-40E160A41521}" type="presParOf" srcId="{2A2F781F-16C1-4D29-B08D-ACB557B90863}" destId="{670C3138-35C4-4325-817E-26AD5BE05F94}" srcOrd="6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9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005063B7-85D1-441D-87C6-864638207FCC}" type="doc">
      <dgm:prSet loTypeId="urn:microsoft.com/office/officeart/2005/8/layout/vList2" loCatId="list" qsTypeId="urn:microsoft.com/office/officeart/2005/8/quickstyle/simple4" qsCatId="simple" csTypeId="urn:microsoft.com/office/officeart/2005/8/colors/colorful5" csCatId="colorful" phldr="1"/>
      <dgm:spPr/>
      <dgm:t>
        <a:bodyPr/>
        <a:lstStyle/>
        <a:p>
          <a:endParaRPr lang="en-US"/>
        </a:p>
      </dgm:t>
    </dgm:pt>
    <dgm:pt modelId="{7BC353A9-2E9A-4B42-B9DF-3904A72B6A0E}">
      <dgm:prSet/>
      <dgm:spPr>
        <a:solidFill>
          <a:srgbClr val="EC008C"/>
        </a:solidFill>
      </dgm:spPr>
      <dgm:t>
        <a:bodyPr/>
        <a:lstStyle/>
        <a:p>
          <a:r>
            <a:rPr lang="fi-FI" dirty="0">
              <a:cs typeface="Calibri"/>
            </a:rPr>
            <a:t>fotosynteesissä syntyneen glukoosin sidosenergia muuntuu soluille käyttökelpoiseen muotoon soluhengityksessä</a:t>
          </a:r>
          <a:endParaRPr lang="en-US" dirty="0"/>
        </a:p>
      </dgm:t>
    </dgm:pt>
    <dgm:pt modelId="{C30C19A1-0B86-4B48-8CD1-BC251B538350}" type="parTrans" cxnId="{E893A836-17D9-42C9-9647-9C13C0169F53}">
      <dgm:prSet/>
      <dgm:spPr/>
      <dgm:t>
        <a:bodyPr/>
        <a:lstStyle/>
        <a:p>
          <a:endParaRPr lang="en-US"/>
        </a:p>
      </dgm:t>
    </dgm:pt>
    <dgm:pt modelId="{34A83047-F862-4DFB-A54B-26CD2997000F}" type="sibTrans" cxnId="{E893A836-17D9-42C9-9647-9C13C0169F53}">
      <dgm:prSet/>
      <dgm:spPr/>
      <dgm:t>
        <a:bodyPr/>
        <a:lstStyle/>
        <a:p>
          <a:endParaRPr lang="en-US"/>
        </a:p>
      </dgm:t>
    </dgm:pt>
    <dgm:pt modelId="{C98BB3D8-F1F9-4980-A813-50F0C2AEBD98}" type="pres">
      <dgm:prSet presAssocID="{005063B7-85D1-441D-87C6-864638207FCC}" presName="linear" presStyleCnt="0">
        <dgm:presLayoutVars>
          <dgm:animLvl val="lvl"/>
          <dgm:resizeHandles val="exact"/>
        </dgm:presLayoutVars>
      </dgm:prSet>
      <dgm:spPr/>
    </dgm:pt>
    <dgm:pt modelId="{A2041109-FF81-4945-89B7-A8A0C017B20F}" type="pres">
      <dgm:prSet presAssocID="{7BC353A9-2E9A-4B42-B9DF-3904A72B6A0E}" presName="parentText" presStyleLbl="node1" presStyleIdx="0" presStyleCnt="1">
        <dgm:presLayoutVars>
          <dgm:chMax val="0"/>
          <dgm:bulletEnabled val="1"/>
        </dgm:presLayoutVars>
      </dgm:prSet>
      <dgm:spPr/>
    </dgm:pt>
  </dgm:ptLst>
  <dgm:cxnLst>
    <dgm:cxn modelId="{E893A836-17D9-42C9-9647-9C13C0169F53}" srcId="{005063B7-85D1-441D-87C6-864638207FCC}" destId="{7BC353A9-2E9A-4B42-B9DF-3904A72B6A0E}" srcOrd="0" destOrd="0" parTransId="{C30C19A1-0B86-4B48-8CD1-BC251B538350}" sibTransId="{34A83047-F862-4DFB-A54B-26CD2997000F}"/>
    <dgm:cxn modelId="{2190204B-2E81-4C25-B1E5-1613564821A5}" type="presOf" srcId="{005063B7-85D1-441D-87C6-864638207FCC}" destId="{C98BB3D8-F1F9-4980-A813-50F0C2AEBD98}" srcOrd="0" destOrd="0" presId="urn:microsoft.com/office/officeart/2005/8/layout/vList2"/>
    <dgm:cxn modelId="{EBF53685-F8AF-407C-AE81-06CBD11601DB}" type="presOf" srcId="{7BC353A9-2E9A-4B42-B9DF-3904A72B6A0E}" destId="{A2041109-FF81-4945-89B7-A8A0C017B20F}" srcOrd="0" destOrd="0" presId="urn:microsoft.com/office/officeart/2005/8/layout/vList2"/>
    <dgm:cxn modelId="{67A47AC9-1A43-4843-9DCD-06B8C85015CF}" type="presParOf" srcId="{C98BB3D8-F1F9-4980-A813-50F0C2AEBD98}" destId="{A2041109-FF81-4945-89B7-A8A0C017B20F}" srcOrd="0" destOrd="0" presId="urn:microsoft.com/office/officeart/2005/8/layout/vList2"/>
  </dgm:cxnLst>
  <dgm:bg>
    <a:noFill/>
  </dgm:bg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005063B7-85D1-441D-87C6-864638207FCC}" type="doc">
      <dgm:prSet loTypeId="urn:microsoft.com/office/officeart/2005/8/layout/vList2" loCatId="list" qsTypeId="urn:microsoft.com/office/officeart/2005/8/quickstyle/simple4" qsCatId="simple" csTypeId="urn:microsoft.com/office/officeart/2005/8/colors/colorful5" csCatId="colorful" phldr="1"/>
      <dgm:spPr/>
      <dgm:t>
        <a:bodyPr/>
        <a:lstStyle/>
        <a:p>
          <a:endParaRPr lang="en-US"/>
        </a:p>
      </dgm:t>
    </dgm:pt>
    <dgm:pt modelId="{7BC353A9-2E9A-4B42-B9DF-3904A72B6A0E}">
      <dgm:prSet/>
      <dgm:spPr>
        <a:solidFill>
          <a:srgbClr val="EC008C"/>
        </a:solidFill>
      </dgm:spPr>
      <dgm:t>
        <a:bodyPr/>
        <a:lstStyle/>
        <a:p>
          <a:r>
            <a:rPr lang="fi-FI" dirty="0"/>
            <a:t>energian vapauttaminen glukoosista alkaa solulimassa ja jatkuu mitokondrioissa</a:t>
          </a:r>
          <a:endParaRPr lang="en-US" dirty="0"/>
        </a:p>
      </dgm:t>
    </dgm:pt>
    <dgm:pt modelId="{C30C19A1-0B86-4B48-8CD1-BC251B538350}" type="parTrans" cxnId="{E893A836-17D9-42C9-9647-9C13C0169F53}">
      <dgm:prSet/>
      <dgm:spPr/>
      <dgm:t>
        <a:bodyPr/>
        <a:lstStyle/>
        <a:p>
          <a:endParaRPr lang="en-US"/>
        </a:p>
      </dgm:t>
    </dgm:pt>
    <dgm:pt modelId="{34A83047-F862-4DFB-A54B-26CD2997000F}" type="sibTrans" cxnId="{E893A836-17D9-42C9-9647-9C13C0169F53}">
      <dgm:prSet/>
      <dgm:spPr/>
      <dgm:t>
        <a:bodyPr/>
        <a:lstStyle/>
        <a:p>
          <a:endParaRPr lang="en-US"/>
        </a:p>
      </dgm:t>
    </dgm:pt>
    <dgm:pt modelId="{BA58B7BC-798C-443C-BDEC-DD496DC3142B}">
      <dgm:prSet/>
      <dgm:spPr>
        <a:solidFill>
          <a:srgbClr val="EC008C"/>
        </a:solidFill>
      </dgm:spPr>
      <dgm:t>
        <a:bodyPr/>
        <a:lstStyle/>
        <a:p>
          <a:pPr>
            <a:buFont typeface="Arial" charset="0"/>
            <a:buChar char="•"/>
          </a:pPr>
          <a:r>
            <a:rPr lang="fi-FI"/>
            <a:t>soluhengityksessä energia vapautuu glukoosista vaiheittain</a:t>
          </a:r>
          <a:endParaRPr lang="en-US" dirty="0"/>
        </a:p>
      </dgm:t>
    </dgm:pt>
    <dgm:pt modelId="{A4EEB87E-90A7-4A86-8519-80956F21A713}" type="parTrans" cxnId="{AB182250-B266-4CFF-A16D-83BA8100D3DA}">
      <dgm:prSet/>
      <dgm:spPr/>
      <dgm:t>
        <a:bodyPr/>
        <a:lstStyle/>
        <a:p>
          <a:endParaRPr lang="fi-FI"/>
        </a:p>
      </dgm:t>
    </dgm:pt>
    <dgm:pt modelId="{149B874E-1174-4690-BF2B-BE1478E9FA29}" type="sibTrans" cxnId="{AB182250-B266-4CFF-A16D-83BA8100D3DA}">
      <dgm:prSet/>
      <dgm:spPr/>
      <dgm:t>
        <a:bodyPr/>
        <a:lstStyle/>
        <a:p>
          <a:endParaRPr lang="fi-FI"/>
        </a:p>
      </dgm:t>
    </dgm:pt>
    <dgm:pt modelId="{C98BB3D8-F1F9-4980-A813-50F0C2AEBD98}" type="pres">
      <dgm:prSet presAssocID="{005063B7-85D1-441D-87C6-864638207FCC}" presName="linear" presStyleCnt="0">
        <dgm:presLayoutVars>
          <dgm:animLvl val="lvl"/>
          <dgm:resizeHandles val="exact"/>
        </dgm:presLayoutVars>
      </dgm:prSet>
      <dgm:spPr/>
    </dgm:pt>
    <dgm:pt modelId="{A2041109-FF81-4945-89B7-A8A0C017B20F}" type="pres">
      <dgm:prSet presAssocID="{7BC353A9-2E9A-4B42-B9DF-3904A72B6A0E}" presName="parentText" presStyleLbl="node1" presStyleIdx="0" presStyleCnt="2">
        <dgm:presLayoutVars>
          <dgm:chMax val="0"/>
          <dgm:bulletEnabled val="1"/>
        </dgm:presLayoutVars>
      </dgm:prSet>
      <dgm:spPr/>
    </dgm:pt>
    <dgm:pt modelId="{ED6A19B6-0EBC-4392-AF6F-F3CAA63D99E9}" type="pres">
      <dgm:prSet presAssocID="{34A83047-F862-4DFB-A54B-26CD2997000F}" presName="spacer" presStyleCnt="0"/>
      <dgm:spPr/>
    </dgm:pt>
    <dgm:pt modelId="{A11EE792-575F-4B04-B924-71A76FA4F951}" type="pres">
      <dgm:prSet presAssocID="{BA58B7BC-798C-443C-BDEC-DD496DC3142B}" presName="parentText" presStyleLbl="node1" presStyleIdx="1" presStyleCnt="2">
        <dgm:presLayoutVars>
          <dgm:chMax val="0"/>
          <dgm:bulletEnabled val="1"/>
        </dgm:presLayoutVars>
      </dgm:prSet>
      <dgm:spPr/>
    </dgm:pt>
  </dgm:ptLst>
  <dgm:cxnLst>
    <dgm:cxn modelId="{45AAC402-4495-468D-B700-CE6515E85DE2}" type="presOf" srcId="{BA58B7BC-798C-443C-BDEC-DD496DC3142B}" destId="{A11EE792-575F-4B04-B924-71A76FA4F951}" srcOrd="0" destOrd="0" presId="urn:microsoft.com/office/officeart/2005/8/layout/vList2"/>
    <dgm:cxn modelId="{E893A836-17D9-42C9-9647-9C13C0169F53}" srcId="{005063B7-85D1-441D-87C6-864638207FCC}" destId="{7BC353A9-2E9A-4B42-B9DF-3904A72B6A0E}" srcOrd="0" destOrd="0" parTransId="{C30C19A1-0B86-4B48-8CD1-BC251B538350}" sibTransId="{34A83047-F862-4DFB-A54B-26CD2997000F}"/>
    <dgm:cxn modelId="{2190204B-2E81-4C25-B1E5-1613564821A5}" type="presOf" srcId="{005063B7-85D1-441D-87C6-864638207FCC}" destId="{C98BB3D8-F1F9-4980-A813-50F0C2AEBD98}" srcOrd="0" destOrd="0" presId="urn:microsoft.com/office/officeart/2005/8/layout/vList2"/>
    <dgm:cxn modelId="{AB182250-B266-4CFF-A16D-83BA8100D3DA}" srcId="{005063B7-85D1-441D-87C6-864638207FCC}" destId="{BA58B7BC-798C-443C-BDEC-DD496DC3142B}" srcOrd="1" destOrd="0" parTransId="{A4EEB87E-90A7-4A86-8519-80956F21A713}" sibTransId="{149B874E-1174-4690-BF2B-BE1478E9FA29}"/>
    <dgm:cxn modelId="{EBF53685-F8AF-407C-AE81-06CBD11601DB}" type="presOf" srcId="{7BC353A9-2E9A-4B42-B9DF-3904A72B6A0E}" destId="{A2041109-FF81-4945-89B7-A8A0C017B20F}" srcOrd="0" destOrd="0" presId="urn:microsoft.com/office/officeart/2005/8/layout/vList2"/>
    <dgm:cxn modelId="{67A47AC9-1A43-4843-9DCD-06B8C85015CF}" type="presParOf" srcId="{C98BB3D8-F1F9-4980-A813-50F0C2AEBD98}" destId="{A2041109-FF81-4945-89B7-A8A0C017B20F}" srcOrd="0" destOrd="0" presId="urn:microsoft.com/office/officeart/2005/8/layout/vList2"/>
    <dgm:cxn modelId="{DC5ADAB3-BC4D-4BDE-AF12-E0A5549CC1DB}" type="presParOf" srcId="{C98BB3D8-F1F9-4980-A813-50F0C2AEBD98}" destId="{ED6A19B6-0EBC-4392-AF6F-F3CAA63D99E9}" srcOrd="1" destOrd="0" presId="urn:microsoft.com/office/officeart/2005/8/layout/vList2"/>
    <dgm:cxn modelId="{B32E026D-8B5F-4E12-A394-82C67D2043C9}" type="presParOf" srcId="{C98BB3D8-F1F9-4980-A813-50F0C2AEBD98}" destId="{A11EE792-575F-4B04-B924-71A76FA4F951}" srcOrd="2" destOrd="0" presId="urn:microsoft.com/office/officeart/2005/8/layout/vList2"/>
  </dgm:cxnLst>
  <dgm:bg>
    <a:noFill/>
  </dgm:bg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005063B7-85D1-441D-87C6-864638207FCC}" type="doc">
      <dgm:prSet loTypeId="urn:microsoft.com/office/officeart/2005/8/layout/vList2" loCatId="list" qsTypeId="urn:microsoft.com/office/officeart/2005/8/quickstyle/simple1" qsCatId="simple" csTypeId="urn:microsoft.com/office/officeart/2005/8/colors/accent3_2" csCatId="accent3" phldr="1"/>
      <dgm:spPr/>
      <dgm:t>
        <a:bodyPr/>
        <a:lstStyle/>
        <a:p>
          <a:endParaRPr lang="en-US"/>
        </a:p>
      </dgm:t>
    </dgm:pt>
    <dgm:pt modelId="{7BC353A9-2E9A-4B42-B9DF-3904A72B6A0E}">
      <dgm:prSet/>
      <dgm:spPr>
        <a:solidFill>
          <a:srgbClr val="EC008C"/>
        </a:solidFill>
      </dgm:spPr>
      <dgm:t>
        <a:bodyPr/>
        <a:lstStyle/>
        <a:p>
          <a:r>
            <a:rPr lang="fi-FI" dirty="0"/>
            <a:t>1. </a:t>
          </a:r>
          <a:r>
            <a:rPr lang="fi-FI" dirty="0" err="1"/>
            <a:t>Glykolyysi</a:t>
          </a:r>
          <a:r>
            <a:rPr lang="fi-FI" dirty="0"/>
            <a:t> </a:t>
          </a:r>
          <a:endParaRPr lang="en-US" dirty="0"/>
        </a:p>
      </dgm:t>
    </dgm:pt>
    <dgm:pt modelId="{C30C19A1-0B86-4B48-8CD1-BC251B538350}" type="parTrans" cxnId="{E893A836-17D9-42C9-9647-9C13C0169F53}">
      <dgm:prSet/>
      <dgm:spPr/>
      <dgm:t>
        <a:bodyPr/>
        <a:lstStyle/>
        <a:p>
          <a:endParaRPr lang="en-US"/>
        </a:p>
      </dgm:t>
    </dgm:pt>
    <dgm:pt modelId="{34A83047-F862-4DFB-A54B-26CD2997000F}" type="sibTrans" cxnId="{E893A836-17D9-42C9-9647-9C13C0169F53}">
      <dgm:prSet/>
      <dgm:spPr/>
      <dgm:t>
        <a:bodyPr/>
        <a:lstStyle/>
        <a:p>
          <a:endParaRPr lang="en-US"/>
        </a:p>
      </dgm:t>
    </dgm:pt>
    <dgm:pt modelId="{5452771C-6E30-47D9-8FDA-CF3884187D73}">
      <dgm:prSet/>
      <dgm:spPr/>
      <dgm:t>
        <a:bodyPr/>
        <a:lstStyle/>
        <a:p>
          <a:r>
            <a:rPr lang="fi-FI" dirty="0"/>
            <a:t>tapahtuu solulimassa</a:t>
          </a:r>
        </a:p>
      </dgm:t>
    </dgm:pt>
    <dgm:pt modelId="{C2AFE69A-DC3D-4C59-B3B6-64CC22EAAD5F}" type="parTrans" cxnId="{DF9CD668-A519-4795-89DB-1B28BF49AA95}">
      <dgm:prSet/>
      <dgm:spPr/>
      <dgm:t>
        <a:bodyPr/>
        <a:lstStyle/>
        <a:p>
          <a:endParaRPr lang="fi-FI"/>
        </a:p>
      </dgm:t>
    </dgm:pt>
    <dgm:pt modelId="{AE6AF1AF-BD92-40F3-A166-27A42930CF1B}" type="sibTrans" cxnId="{DF9CD668-A519-4795-89DB-1B28BF49AA95}">
      <dgm:prSet/>
      <dgm:spPr/>
      <dgm:t>
        <a:bodyPr/>
        <a:lstStyle/>
        <a:p>
          <a:endParaRPr lang="fi-FI"/>
        </a:p>
      </dgm:t>
    </dgm:pt>
    <dgm:pt modelId="{A726EAC7-2A9C-4851-8E47-61017A9F3128}">
      <dgm:prSet/>
      <dgm:spPr/>
      <dgm:t>
        <a:bodyPr/>
        <a:lstStyle/>
        <a:p>
          <a:r>
            <a:rPr lang="fi-FI" dirty="0"/>
            <a:t>glukoosimolekyyli hajoaa kahdeksi </a:t>
          </a:r>
          <a:r>
            <a:rPr lang="fi-FI" dirty="0" err="1"/>
            <a:t>pyruvaattimolekyyliksi</a:t>
          </a:r>
          <a:r>
            <a:rPr lang="fi-FI" dirty="0"/>
            <a:t>, samalla irtoaa </a:t>
          </a:r>
          <a:r>
            <a:rPr lang="fi-FI" dirty="0" err="1"/>
            <a:t>vetyioneita</a:t>
          </a:r>
          <a:endParaRPr lang="fi-FI" dirty="0">
            <a:cs typeface="Calibri" panose="020F0502020204030204"/>
          </a:endParaRPr>
        </a:p>
      </dgm:t>
    </dgm:pt>
    <dgm:pt modelId="{EDDBB979-69B9-4F1B-9973-F856ED454782}" type="parTrans" cxnId="{2DE2FBAD-CDE7-477C-98BD-7C0DD648B804}">
      <dgm:prSet/>
      <dgm:spPr/>
      <dgm:t>
        <a:bodyPr/>
        <a:lstStyle/>
        <a:p>
          <a:endParaRPr lang="fi-FI"/>
        </a:p>
      </dgm:t>
    </dgm:pt>
    <dgm:pt modelId="{3423CAA3-5668-4682-A807-5C7A79E9ECA2}" type="sibTrans" cxnId="{2DE2FBAD-CDE7-477C-98BD-7C0DD648B804}">
      <dgm:prSet/>
      <dgm:spPr/>
      <dgm:t>
        <a:bodyPr/>
        <a:lstStyle/>
        <a:p>
          <a:endParaRPr lang="fi-FI"/>
        </a:p>
      </dgm:t>
    </dgm:pt>
    <dgm:pt modelId="{3CB6575A-5F80-4CF6-967E-2A3B1D0930C6}">
      <dgm:prSet/>
      <dgm:spPr/>
      <dgm:t>
        <a:bodyPr/>
        <a:lstStyle/>
        <a:p>
          <a:r>
            <a:rPr lang="fi-FI"/>
            <a:t>vapautuu pieni määrä energiaa, joka sitoutuu ATP-molekyyleihin</a:t>
          </a:r>
          <a:endParaRPr lang="fi-FI" dirty="0"/>
        </a:p>
      </dgm:t>
    </dgm:pt>
    <dgm:pt modelId="{8CBEF4C6-A3B4-4670-A494-FDE83F0F8098}" type="parTrans" cxnId="{09C0EB1F-8A09-42C7-9F5C-CA3023DD50B7}">
      <dgm:prSet/>
      <dgm:spPr/>
      <dgm:t>
        <a:bodyPr/>
        <a:lstStyle/>
        <a:p>
          <a:endParaRPr lang="fi-FI"/>
        </a:p>
      </dgm:t>
    </dgm:pt>
    <dgm:pt modelId="{6E58E64D-6243-4CAF-BCB6-3C4877B49771}" type="sibTrans" cxnId="{09C0EB1F-8A09-42C7-9F5C-CA3023DD50B7}">
      <dgm:prSet/>
      <dgm:spPr/>
      <dgm:t>
        <a:bodyPr/>
        <a:lstStyle/>
        <a:p>
          <a:endParaRPr lang="fi-FI"/>
        </a:p>
      </dgm:t>
    </dgm:pt>
    <dgm:pt modelId="{55A5260C-9E81-45EC-84B5-17B552AD9CE6}">
      <dgm:prSet/>
      <dgm:spPr/>
      <dgm:t>
        <a:bodyPr/>
        <a:lstStyle/>
        <a:p>
          <a:r>
            <a:rPr lang="fi-FI" dirty="0"/>
            <a:t>anaerobinen reaktio, eli siinä ei tarvita happea</a:t>
          </a:r>
          <a:endParaRPr lang="fi-FI" dirty="0">
            <a:cs typeface="Calibri"/>
          </a:endParaRPr>
        </a:p>
      </dgm:t>
    </dgm:pt>
    <dgm:pt modelId="{3A0D13CE-8744-4878-B826-4DB598DFF8B5}" type="parTrans" cxnId="{11D457EF-699D-4917-891E-7F875F790F53}">
      <dgm:prSet/>
      <dgm:spPr/>
      <dgm:t>
        <a:bodyPr/>
        <a:lstStyle/>
        <a:p>
          <a:endParaRPr lang="fi-FI"/>
        </a:p>
      </dgm:t>
    </dgm:pt>
    <dgm:pt modelId="{CC350B78-7836-4260-9776-B95C634C2DAF}" type="sibTrans" cxnId="{11D457EF-699D-4917-891E-7F875F790F53}">
      <dgm:prSet/>
      <dgm:spPr/>
      <dgm:t>
        <a:bodyPr/>
        <a:lstStyle/>
        <a:p>
          <a:endParaRPr lang="fi-FI"/>
        </a:p>
      </dgm:t>
    </dgm:pt>
    <dgm:pt modelId="{FB80A06B-DC17-4ABD-AE05-BFC37573EE5B}">
      <dgm:prSet/>
      <dgm:spPr>
        <a:solidFill>
          <a:srgbClr val="F27CB1"/>
        </a:solidFill>
      </dgm:spPr>
      <dgm:t>
        <a:bodyPr/>
        <a:lstStyle/>
        <a:p>
          <a:r>
            <a:rPr lang="fi-FI" dirty="0"/>
            <a:t>2. Sitruunahappokierto</a:t>
          </a:r>
          <a:endParaRPr lang="fi-FI" dirty="0">
            <a:cs typeface="Calibri"/>
          </a:endParaRPr>
        </a:p>
      </dgm:t>
    </dgm:pt>
    <dgm:pt modelId="{6FAEB494-ACFD-4DEC-A9B2-F8CE85202628}" type="parTrans" cxnId="{51BDC4C0-44AC-41F8-BA0D-F0BC6B4C449F}">
      <dgm:prSet/>
      <dgm:spPr/>
      <dgm:t>
        <a:bodyPr/>
        <a:lstStyle/>
        <a:p>
          <a:endParaRPr lang="fi-FI"/>
        </a:p>
      </dgm:t>
    </dgm:pt>
    <dgm:pt modelId="{6A28D362-86E9-4207-9210-7BE6878C9429}" type="sibTrans" cxnId="{51BDC4C0-44AC-41F8-BA0D-F0BC6B4C449F}">
      <dgm:prSet/>
      <dgm:spPr/>
      <dgm:t>
        <a:bodyPr/>
        <a:lstStyle/>
        <a:p>
          <a:endParaRPr lang="fi-FI"/>
        </a:p>
      </dgm:t>
    </dgm:pt>
    <dgm:pt modelId="{7190A91E-8E56-47BF-A4DA-B7497E79B4A7}">
      <dgm:prSet/>
      <dgm:spPr/>
      <dgm:t>
        <a:bodyPr/>
        <a:lstStyle/>
        <a:p>
          <a:r>
            <a:rPr lang="fi-FI"/>
            <a:t>pyruvaattimolekyylit kuljetetaan mitokondrion sisälle  </a:t>
          </a:r>
          <a:endParaRPr lang="fi-FI" dirty="0">
            <a:cs typeface="Calibri" panose="020F0502020204030204"/>
          </a:endParaRPr>
        </a:p>
      </dgm:t>
    </dgm:pt>
    <dgm:pt modelId="{A512D76B-A7D5-4C73-8D2D-E218400028A5}" type="parTrans" cxnId="{ECB7E278-2328-4507-8BF5-D453CFF60C9B}">
      <dgm:prSet/>
      <dgm:spPr/>
      <dgm:t>
        <a:bodyPr/>
        <a:lstStyle/>
        <a:p>
          <a:endParaRPr lang="fi-FI"/>
        </a:p>
      </dgm:t>
    </dgm:pt>
    <dgm:pt modelId="{6B67489D-D67F-4F50-AE35-5CAF49C9D9CA}" type="sibTrans" cxnId="{ECB7E278-2328-4507-8BF5-D453CFF60C9B}">
      <dgm:prSet/>
      <dgm:spPr/>
      <dgm:t>
        <a:bodyPr/>
        <a:lstStyle/>
        <a:p>
          <a:endParaRPr lang="fi-FI"/>
        </a:p>
      </dgm:t>
    </dgm:pt>
    <dgm:pt modelId="{EE04090F-49F8-439B-B626-511428A988D7}">
      <dgm:prSet/>
      <dgm:spPr/>
      <dgm:t>
        <a:bodyPr/>
        <a:lstStyle/>
        <a:p>
          <a:r>
            <a:rPr lang="fi-FI" dirty="0"/>
            <a:t>syntyy hiilidioksidia sekä vetyioneja ja elektroneja</a:t>
          </a:r>
        </a:p>
      </dgm:t>
    </dgm:pt>
    <dgm:pt modelId="{0DE40401-8899-449E-A643-6D9094883EE0}" type="parTrans" cxnId="{7852E696-7A1F-4FF8-9DB2-5FB58527135A}">
      <dgm:prSet/>
      <dgm:spPr/>
      <dgm:t>
        <a:bodyPr/>
        <a:lstStyle/>
        <a:p>
          <a:endParaRPr lang="fi-FI"/>
        </a:p>
      </dgm:t>
    </dgm:pt>
    <dgm:pt modelId="{B7BA4A20-FAC4-4195-A848-AC5C269F410C}" type="sibTrans" cxnId="{7852E696-7A1F-4FF8-9DB2-5FB58527135A}">
      <dgm:prSet/>
      <dgm:spPr/>
      <dgm:t>
        <a:bodyPr/>
        <a:lstStyle/>
        <a:p>
          <a:endParaRPr lang="fi-FI"/>
        </a:p>
      </dgm:t>
    </dgm:pt>
    <dgm:pt modelId="{0A93D2B6-C951-4493-A9F0-27CE84E7FE84}">
      <dgm:prSet/>
      <dgm:spPr/>
      <dgm:t>
        <a:bodyPr/>
        <a:lstStyle/>
        <a:p>
          <a:r>
            <a:rPr lang="fi-FI" dirty="0"/>
            <a:t>vapautuu pieni määrä̈ energiaa, joka sitoutuu ATP-molekyyleihin</a:t>
          </a:r>
          <a:endParaRPr lang="fi-FI" dirty="0">
            <a:cs typeface="Calibri"/>
          </a:endParaRPr>
        </a:p>
      </dgm:t>
    </dgm:pt>
    <dgm:pt modelId="{B60EB654-7443-4CA9-8001-E0EBD9659B88}" type="parTrans" cxnId="{06998306-CFE0-4308-87B8-116A805E7392}">
      <dgm:prSet/>
      <dgm:spPr/>
      <dgm:t>
        <a:bodyPr/>
        <a:lstStyle/>
        <a:p>
          <a:endParaRPr lang="fi-FI"/>
        </a:p>
      </dgm:t>
    </dgm:pt>
    <dgm:pt modelId="{0A70E446-FBA6-4DD6-A62E-8A11DD757D4A}" type="sibTrans" cxnId="{06998306-CFE0-4308-87B8-116A805E7392}">
      <dgm:prSet/>
      <dgm:spPr/>
      <dgm:t>
        <a:bodyPr/>
        <a:lstStyle/>
        <a:p>
          <a:endParaRPr lang="fi-FI"/>
        </a:p>
      </dgm:t>
    </dgm:pt>
    <dgm:pt modelId="{32A92ADC-2DDB-4F75-BBE4-F68B02727FBB}">
      <dgm:prSet/>
      <dgm:spPr>
        <a:solidFill>
          <a:srgbClr val="F9C3DB"/>
        </a:solidFill>
      </dgm:spPr>
      <dgm:t>
        <a:bodyPr/>
        <a:lstStyle/>
        <a:p>
          <a:r>
            <a:rPr lang="fi-FI"/>
            <a:t>3. Elektroninsiirtoketju</a:t>
          </a:r>
          <a:endParaRPr lang="fi-FI" dirty="0">
            <a:cs typeface="Calibri"/>
          </a:endParaRPr>
        </a:p>
      </dgm:t>
    </dgm:pt>
    <dgm:pt modelId="{D1014848-7916-42C0-B717-7E6491C4F6D9}" type="parTrans" cxnId="{2B31774E-2640-41FA-8D24-5E8342DA457B}">
      <dgm:prSet/>
      <dgm:spPr/>
      <dgm:t>
        <a:bodyPr/>
        <a:lstStyle/>
        <a:p>
          <a:endParaRPr lang="fi-FI"/>
        </a:p>
      </dgm:t>
    </dgm:pt>
    <dgm:pt modelId="{14501A66-AEED-4044-8A2F-3721DF8E4FDC}" type="sibTrans" cxnId="{2B31774E-2640-41FA-8D24-5E8342DA457B}">
      <dgm:prSet/>
      <dgm:spPr/>
      <dgm:t>
        <a:bodyPr/>
        <a:lstStyle/>
        <a:p>
          <a:endParaRPr lang="fi-FI"/>
        </a:p>
      </dgm:t>
    </dgm:pt>
    <dgm:pt modelId="{66C7B794-4166-4719-9CBB-F1BA5FBD14AD}">
      <dgm:prSet/>
      <dgm:spPr/>
      <dgm:t>
        <a:bodyPr/>
        <a:lstStyle/>
        <a:p>
          <a:r>
            <a:rPr lang="fi-FI"/>
            <a:t>vedynsiirtäjät kuljettavat vetyionit ja elektronit mitokondrion sisemmälle kalvolle</a:t>
          </a:r>
          <a:endParaRPr lang="fi-FI" dirty="0"/>
        </a:p>
      </dgm:t>
    </dgm:pt>
    <dgm:pt modelId="{A1A908AA-23C0-4EF4-B800-F2CB303B8975}" type="parTrans" cxnId="{58002114-B08B-416C-8D3E-AF6910C9C5DE}">
      <dgm:prSet/>
      <dgm:spPr/>
      <dgm:t>
        <a:bodyPr/>
        <a:lstStyle/>
        <a:p>
          <a:endParaRPr lang="fi-FI"/>
        </a:p>
      </dgm:t>
    </dgm:pt>
    <dgm:pt modelId="{8666CF3C-64F2-4C2C-8A09-EF6CC4C8FF74}" type="sibTrans" cxnId="{58002114-B08B-416C-8D3E-AF6910C9C5DE}">
      <dgm:prSet/>
      <dgm:spPr/>
      <dgm:t>
        <a:bodyPr/>
        <a:lstStyle/>
        <a:p>
          <a:endParaRPr lang="fi-FI"/>
        </a:p>
      </dgm:t>
    </dgm:pt>
    <dgm:pt modelId="{54D149E9-2F06-47EE-B753-0E8316C71379}">
      <dgm:prSet/>
      <dgm:spPr/>
      <dgm:t>
        <a:bodyPr/>
        <a:lstStyle/>
        <a:p>
          <a:r>
            <a:rPr lang="fi-FI" dirty="0">
              <a:cs typeface="Calibri" panose="020F0502020204030204"/>
            </a:rPr>
            <a:t>elektroninsiirtäjämolekyylit kuljettavat vetyionit siirtäjältä toiselle, vapautuu runsaasti energiaa</a:t>
          </a:r>
        </a:p>
      </dgm:t>
    </dgm:pt>
    <dgm:pt modelId="{C9C1749A-CBAD-44BD-BB91-D3A794DAA348}" type="parTrans" cxnId="{1876F8A4-8676-4908-9285-FD189FCBA3DF}">
      <dgm:prSet/>
      <dgm:spPr/>
      <dgm:t>
        <a:bodyPr/>
        <a:lstStyle/>
        <a:p>
          <a:endParaRPr lang="fi-FI"/>
        </a:p>
      </dgm:t>
    </dgm:pt>
    <dgm:pt modelId="{A4000C11-B22E-46B7-86BC-3CDF172DD3F7}" type="sibTrans" cxnId="{1876F8A4-8676-4908-9285-FD189FCBA3DF}">
      <dgm:prSet/>
      <dgm:spPr/>
      <dgm:t>
        <a:bodyPr/>
        <a:lstStyle/>
        <a:p>
          <a:endParaRPr lang="fi-FI"/>
        </a:p>
      </dgm:t>
    </dgm:pt>
    <dgm:pt modelId="{EE573FE1-E908-4B2E-848D-E4D7E9B94382}">
      <dgm:prSet/>
      <dgm:spPr/>
      <dgm:t>
        <a:bodyPr/>
        <a:lstStyle/>
        <a:p>
          <a:r>
            <a:rPr lang="fi-FI" dirty="0">
              <a:cs typeface="Calibri" panose="020F0502020204030204"/>
            </a:rPr>
            <a:t>ATP-</a:t>
          </a:r>
          <a:r>
            <a:rPr lang="fi-FI" dirty="0" err="1">
              <a:cs typeface="Calibri" panose="020F0502020204030204"/>
            </a:rPr>
            <a:t>syntaasientsyymi</a:t>
          </a:r>
          <a:r>
            <a:rPr lang="fi-FI" dirty="0">
              <a:cs typeface="Calibri" panose="020F0502020204030204"/>
            </a:rPr>
            <a:t> katalysoi ATP: n muodostumista ADP: </a:t>
          </a:r>
          <a:r>
            <a:rPr lang="fi-FI" dirty="0" err="1">
              <a:cs typeface="Calibri" panose="020F0502020204030204"/>
            </a:rPr>
            <a:t>stä</a:t>
          </a:r>
          <a:endParaRPr lang="fi-FI" dirty="0"/>
        </a:p>
      </dgm:t>
    </dgm:pt>
    <dgm:pt modelId="{A021A4C1-C999-41D9-94EE-D2F97DD18C4B}" type="parTrans" cxnId="{2EF2695D-ACC1-4B8D-9227-76A09793C0F4}">
      <dgm:prSet/>
      <dgm:spPr/>
      <dgm:t>
        <a:bodyPr/>
        <a:lstStyle/>
        <a:p>
          <a:endParaRPr lang="fi-FI"/>
        </a:p>
      </dgm:t>
    </dgm:pt>
    <dgm:pt modelId="{6EE62348-4233-4814-B429-55BA083C86DE}" type="sibTrans" cxnId="{2EF2695D-ACC1-4B8D-9227-76A09793C0F4}">
      <dgm:prSet/>
      <dgm:spPr/>
      <dgm:t>
        <a:bodyPr/>
        <a:lstStyle/>
        <a:p>
          <a:endParaRPr lang="fi-FI"/>
        </a:p>
      </dgm:t>
    </dgm:pt>
    <dgm:pt modelId="{3541C444-4C3E-441E-B4DD-2DD288B3032D}">
      <dgm:prSet/>
      <dgm:spPr/>
      <dgm:t>
        <a:bodyPr/>
        <a:lstStyle/>
        <a:p>
          <a:r>
            <a:rPr lang="fi-FI"/>
            <a:t>syntyy 28 ATP-molekyyliä ja lopuksi vettä</a:t>
          </a:r>
          <a:endParaRPr lang="fi-FI" dirty="0">
            <a:cs typeface="Calibri" panose="020F0502020204030204"/>
          </a:endParaRPr>
        </a:p>
      </dgm:t>
    </dgm:pt>
    <dgm:pt modelId="{0A32BAE9-BF28-4EEB-A0BB-8C7D35E515ED}" type="parTrans" cxnId="{9A2900BD-51DA-4AEF-A50B-DEAFF3E30340}">
      <dgm:prSet/>
      <dgm:spPr/>
      <dgm:t>
        <a:bodyPr/>
        <a:lstStyle/>
        <a:p>
          <a:endParaRPr lang="fi-FI"/>
        </a:p>
      </dgm:t>
    </dgm:pt>
    <dgm:pt modelId="{4D06BFD7-4280-4B92-83BF-E8C80EC79667}" type="sibTrans" cxnId="{9A2900BD-51DA-4AEF-A50B-DEAFF3E30340}">
      <dgm:prSet/>
      <dgm:spPr/>
      <dgm:t>
        <a:bodyPr/>
        <a:lstStyle/>
        <a:p>
          <a:endParaRPr lang="fi-FI"/>
        </a:p>
      </dgm:t>
    </dgm:pt>
    <dgm:pt modelId="{C60D6FB6-16A6-4B08-B833-69B8706BCE7D}">
      <dgm:prSet/>
      <dgm:spPr/>
      <dgm:t>
        <a:bodyPr/>
        <a:lstStyle/>
        <a:p>
          <a:endParaRPr lang="fi-FI" dirty="0">
            <a:cs typeface="Calibri"/>
          </a:endParaRPr>
        </a:p>
      </dgm:t>
    </dgm:pt>
    <dgm:pt modelId="{AFCBA77B-71BF-4A8E-9208-D455D365AB85}" type="parTrans" cxnId="{5829B942-107A-4C10-A667-0D276E5FA9DA}">
      <dgm:prSet/>
      <dgm:spPr/>
      <dgm:t>
        <a:bodyPr/>
        <a:lstStyle/>
        <a:p>
          <a:endParaRPr lang="fi-FI"/>
        </a:p>
      </dgm:t>
    </dgm:pt>
    <dgm:pt modelId="{E89AFD66-C2A4-4AD1-B016-084DD1D4DEF3}" type="sibTrans" cxnId="{5829B942-107A-4C10-A667-0D276E5FA9DA}">
      <dgm:prSet/>
      <dgm:spPr/>
      <dgm:t>
        <a:bodyPr/>
        <a:lstStyle/>
        <a:p>
          <a:endParaRPr lang="fi-FI"/>
        </a:p>
      </dgm:t>
    </dgm:pt>
    <dgm:pt modelId="{05E74D26-123F-46B5-A863-C50524B56A30}">
      <dgm:prSet/>
      <dgm:spPr/>
      <dgm:t>
        <a:bodyPr/>
        <a:lstStyle/>
        <a:p>
          <a:endParaRPr lang="fi-FI" dirty="0">
            <a:cs typeface="Calibri"/>
          </a:endParaRPr>
        </a:p>
      </dgm:t>
    </dgm:pt>
    <dgm:pt modelId="{732B8807-FCA5-44AE-B722-E5AA713DD1DA}" type="parTrans" cxnId="{4B2FB1CE-7E57-4918-87E7-BE9764060ECC}">
      <dgm:prSet/>
      <dgm:spPr/>
      <dgm:t>
        <a:bodyPr/>
        <a:lstStyle/>
        <a:p>
          <a:endParaRPr lang="fi-FI"/>
        </a:p>
      </dgm:t>
    </dgm:pt>
    <dgm:pt modelId="{17F722AA-A1BF-4028-AF27-00F7B53BF6CD}" type="sibTrans" cxnId="{4B2FB1CE-7E57-4918-87E7-BE9764060ECC}">
      <dgm:prSet/>
      <dgm:spPr/>
      <dgm:t>
        <a:bodyPr/>
        <a:lstStyle/>
        <a:p>
          <a:endParaRPr lang="fi-FI"/>
        </a:p>
      </dgm:t>
    </dgm:pt>
    <dgm:pt modelId="{414E1A2D-156C-4C1C-911F-E5659FCD7828}" type="pres">
      <dgm:prSet presAssocID="{005063B7-85D1-441D-87C6-864638207FCC}" presName="linear" presStyleCnt="0">
        <dgm:presLayoutVars>
          <dgm:animLvl val="lvl"/>
          <dgm:resizeHandles val="exact"/>
        </dgm:presLayoutVars>
      </dgm:prSet>
      <dgm:spPr/>
    </dgm:pt>
    <dgm:pt modelId="{FE62C24B-FC5C-4D07-8954-621E16F7415F}" type="pres">
      <dgm:prSet presAssocID="{7BC353A9-2E9A-4B42-B9DF-3904A72B6A0E}" presName="parentText" presStyleLbl="node1" presStyleIdx="0" presStyleCnt="3">
        <dgm:presLayoutVars>
          <dgm:chMax val="0"/>
          <dgm:bulletEnabled val="1"/>
        </dgm:presLayoutVars>
      </dgm:prSet>
      <dgm:spPr/>
    </dgm:pt>
    <dgm:pt modelId="{F6D962F0-735D-458E-BF8C-C3600395B2EE}" type="pres">
      <dgm:prSet presAssocID="{7BC353A9-2E9A-4B42-B9DF-3904A72B6A0E}" presName="childText" presStyleLbl="revTx" presStyleIdx="0" presStyleCnt="3">
        <dgm:presLayoutVars>
          <dgm:bulletEnabled val="1"/>
        </dgm:presLayoutVars>
      </dgm:prSet>
      <dgm:spPr/>
    </dgm:pt>
    <dgm:pt modelId="{E251B4CC-200E-43D3-8A67-1ABE95517A7E}" type="pres">
      <dgm:prSet presAssocID="{FB80A06B-DC17-4ABD-AE05-BFC37573EE5B}" presName="parentText" presStyleLbl="node1" presStyleIdx="1" presStyleCnt="3">
        <dgm:presLayoutVars>
          <dgm:chMax val="0"/>
          <dgm:bulletEnabled val="1"/>
        </dgm:presLayoutVars>
      </dgm:prSet>
      <dgm:spPr/>
    </dgm:pt>
    <dgm:pt modelId="{491BAAA7-59AD-4EF7-B739-EE20658EF528}" type="pres">
      <dgm:prSet presAssocID="{FB80A06B-DC17-4ABD-AE05-BFC37573EE5B}" presName="childText" presStyleLbl="revTx" presStyleIdx="1" presStyleCnt="3">
        <dgm:presLayoutVars>
          <dgm:bulletEnabled val="1"/>
        </dgm:presLayoutVars>
      </dgm:prSet>
      <dgm:spPr/>
    </dgm:pt>
    <dgm:pt modelId="{46DB61D6-69F9-4113-B32E-3051001DF606}" type="pres">
      <dgm:prSet presAssocID="{32A92ADC-2DDB-4F75-BBE4-F68B02727FBB}" presName="parentText" presStyleLbl="node1" presStyleIdx="2" presStyleCnt="3">
        <dgm:presLayoutVars>
          <dgm:chMax val="0"/>
          <dgm:bulletEnabled val="1"/>
        </dgm:presLayoutVars>
      </dgm:prSet>
      <dgm:spPr/>
    </dgm:pt>
    <dgm:pt modelId="{11C92087-426F-44C6-ACAC-C9F2E9A3CFA2}" type="pres">
      <dgm:prSet presAssocID="{32A92ADC-2DDB-4F75-BBE4-F68B02727FBB}" presName="childText" presStyleLbl="revTx" presStyleIdx="2" presStyleCnt="3">
        <dgm:presLayoutVars>
          <dgm:bulletEnabled val="1"/>
        </dgm:presLayoutVars>
      </dgm:prSet>
      <dgm:spPr/>
    </dgm:pt>
  </dgm:ptLst>
  <dgm:cxnLst>
    <dgm:cxn modelId="{06998306-CFE0-4308-87B8-116A805E7392}" srcId="{FB80A06B-DC17-4ABD-AE05-BFC37573EE5B}" destId="{0A93D2B6-C951-4493-A9F0-27CE84E7FE84}" srcOrd="2" destOrd="0" parTransId="{B60EB654-7443-4CA9-8001-E0EBD9659B88}" sibTransId="{0A70E446-FBA6-4DD6-A62E-8A11DD757D4A}"/>
    <dgm:cxn modelId="{58002114-B08B-416C-8D3E-AF6910C9C5DE}" srcId="{32A92ADC-2DDB-4F75-BBE4-F68B02727FBB}" destId="{66C7B794-4166-4719-9CBB-F1BA5FBD14AD}" srcOrd="0" destOrd="0" parTransId="{A1A908AA-23C0-4EF4-B800-F2CB303B8975}" sibTransId="{8666CF3C-64F2-4C2C-8A09-EF6CC4C8FF74}"/>
    <dgm:cxn modelId="{83B7AD15-5952-4D87-A6A9-88B773D7A006}" type="presOf" srcId="{FB80A06B-DC17-4ABD-AE05-BFC37573EE5B}" destId="{E251B4CC-200E-43D3-8A67-1ABE95517A7E}" srcOrd="0" destOrd="0" presId="urn:microsoft.com/office/officeart/2005/8/layout/vList2"/>
    <dgm:cxn modelId="{D6D4291D-493B-4781-8242-DE0983907714}" type="presOf" srcId="{66C7B794-4166-4719-9CBB-F1BA5FBD14AD}" destId="{11C92087-426F-44C6-ACAC-C9F2E9A3CFA2}" srcOrd="0" destOrd="0" presId="urn:microsoft.com/office/officeart/2005/8/layout/vList2"/>
    <dgm:cxn modelId="{09C0EB1F-8A09-42C7-9F5C-CA3023DD50B7}" srcId="{7BC353A9-2E9A-4B42-B9DF-3904A72B6A0E}" destId="{3CB6575A-5F80-4CF6-967E-2A3B1D0930C6}" srcOrd="2" destOrd="0" parTransId="{8CBEF4C6-A3B4-4670-A494-FDE83F0F8098}" sibTransId="{6E58E64D-6243-4CAF-BCB6-3C4877B49771}"/>
    <dgm:cxn modelId="{E893A836-17D9-42C9-9647-9C13C0169F53}" srcId="{005063B7-85D1-441D-87C6-864638207FCC}" destId="{7BC353A9-2E9A-4B42-B9DF-3904A72B6A0E}" srcOrd="0" destOrd="0" parTransId="{C30C19A1-0B86-4B48-8CD1-BC251B538350}" sibTransId="{34A83047-F862-4DFB-A54B-26CD2997000F}"/>
    <dgm:cxn modelId="{1C2BF33F-666E-4179-A1F6-45FF1EDE5ECC}" type="presOf" srcId="{05E74D26-123F-46B5-A863-C50524B56A30}" destId="{491BAAA7-59AD-4EF7-B739-EE20658EF528}" srcOrd="0" destOrd="3" presId="urn:microsoft.com/office/officeart/2005/8/layout/vList2"/>
    <dgm:cxn modelId="{2EF2695D-ACC1-4B8D-9227-76A09793C0F4}" srcId="{32A92ADC-2DDB-4F75-BBE4-F68B02727FBB}" destId="{EE573FE1-E908-4B2E-848D-E4D7E9B94382}" srcOrd="2" destOrd="0" parTransId="{A021A4C1-C999-41D9-94EE-D2F97DD18C4B}" sibTransId="{6EE62348-4233-4814-B429-55BA083C86DE}"/>
    <dgm:cxn modelId="{7FC17C5D-EEB8-41C6-862B-11B906280540}" type="presOf" srcId="{3CB6575A-5F80-4CF6-967E-2A3B1D0930C6}" destId="{F6D962F0-735D-458E-BF8C-C3600395B2EE}" srcOrd="0" destOrd="2" presId="urn:microsoft.com/office/officeart/2005/8/layout/vList2"/>
    <dgm:cxn modelId="{5829B942-107A-4C10-A667-0D276E5FA9DA}" srcId="{7BC353A9-2E9A-4B42-B9DF-3904A72B6A0E}" destId="{C60D6FB6-16A6-4B08-B833-69B8706BCE7D}" srcOrd="4" destOrd="0" parTransId="{AFCBA77B-71BF-4A8E-9208-D455D365AB85}" sibTransId="{E89AFD66-C2A4-4AD1-B016-084DD1D4DEF3}"/>
    <dgm:cxn modelId="{DF9CD668-A519-4795-89DB-1B28BF49AA95}" srcId="{7BC353A9-2E9A-4B42-B9DF-3904A72B6A0E}" destId="{5452771C-6E30-47D9-8FDA-CF3884187D73}" srcOrd="0" destOrd="0" parTransId="{C2AFE69A-DC3D-4C59-B3B6-64CC22EAAD5F}" sibTransId="{AE6AF1AF-BD92-40F3-A166-27A42930CF1B}"/>
    <dgm:cxn modelId="{6FD4AE6C-7CB2-422C-8272-F1859DE2CDED}" type="presOf" srcId="{EE573FE1-E908-4B2E-848D-E4D7E9B94382}" destId="{11C92087-426F-44C6-ACAC-C9F2E9A3CFA2}" srcOrd="0" destOrd="2" presId="urn:microsoft.com/office/officeart/2005/8/layout/vList2"/>
    <dgm:cxn modelId="{D63C256E-0201-4C44-8562-A23855817C61}" type="presOf" srcId="{54D149E9-2F06-47EE-B753-0E8316C71379}" destId="{11C92087-426F-44C6-ACAC-C9F2E9A3CFA2}" srcOrd="0" destOrd="1" presId="urn:microsoft.com/office/officeart/2005/8/layout/vList2"/>
    <dgm:cxn modelId="{2B31774E-2640-41FA-8D24-5E8342DA457B}" srcId="{005063B7-85D1-441D-87C6-864638207FCC}" destId="{32A92ADC-2DDB-4F75-BBE4-F68B02727FBB}" srcOrd="2" destOrd="0" parTransId="{D1014848-7916-42C0-B717-7E6491C4F6D9}" sibTransId="{14501A66-AEED-4044-8A2F-3721DF8E4FDC}"/>
    <dgm:cxn modelId="{15640F70-81F2-4728-A700-9CC9AD1A7DD0}" type="presOf" srcId="{7190A91E-8E56-47BF-A4DA-B7497E79B4A7}" destId="{491BAAA7-59AD-4EF7-B739-EE20658EF528}" srcOrd="0" destOrd="0" presId="urn:microsoft.com/office/officeart/2005/8/layout/vList2"/>
    <dgm:cxn modelId="{ECB7E278-2328-4507-8BF5-D453CFF60C9B}" srcId="{FB80A06B-DC17-4ABD-AE05-BFC37573EE5B}" destId="{7190A91E-8E56-47BF-A4DA-B7497E79B4A7}" srcOrd="0" destOrd="0" parTransId="{A512D76B-A7D5-4C73-8D2D-E218400028A5}" sibTransId="{6B67489D-D67F-4F50-AE35-5CAF49C9D9CA}"/>
    <dgm:cxn modelId="{75CBB079-382C-4404-B055-CEE33A647FF9}" type="presOf" srcId="{EE04090F-49F8-439B-B626-511428A988D7}" destId="{491BAAA7-59AD-4EF7-B739-EE20658EF528}" srcOrd="0" destOrd="1" presId="urn:microsoft.com/office/officeart/2005/8/layout/vList2"/>
    <dgm:cxn modelId="{0711B57C-456E-4060-A35A-BDCC51E57B20}" type="presOf" srcId="{A726EAC7-2A9C-4851-8E47-61017A9F3128}" destId="{F6D962F0-735D-458E-BF8C-C3600395B2EE}" srcOrd="0" destOrd="1" presId="urn:microsoft.com/office/officeart/2005/8/layout/vList2"/>
    <dgm:cxn modelId="{310CE57D-2BD8-4D91-A332-E22F7688D5D6}" type="presOf" srcId="{C60D6FB6-16A6-4B08-B833-69B8706BCE7D}" destId="{F6D962F0-735D-458E-BF8C-C3600395B2EE}" srcOrd="0" destOrd="4" presId="urn:microsoft.com/office/officeart/2005/8/layout/vList2"/>
    <dgm:cxn modelId="{7852E696-7A1F-4FF8-9DB2-5FB58527135A}" srcId="{FB80A06B-DC17-4ABD-AE05-BFC37573EE5B}" destId="{EE04090F-49F8-439B-B626-511428A988D7}" srcOrd="1" destOrd="0" parTransId="{0DE40401-8899-449E-A643-6D9094883EE0}" sibTransId="{B7BA4A20-FAC4-4195-A848-AC5C269F410C}"/>
    <dgm:cxn modelId="{1876F8A4-8676-4908-9285-FD189FCBA3DF}" srcId="{32A92ADC-2DDB-4F75-BBE4-F68B02727FBB}" destId="{54D149E9-2F06-47EE-B753-0E8316C71379}" srcOrd="1" destOrd="0" parTransId="{C9C1749A-CBAD-44BD-BB91-D3A794DAA348}" sibTransId="{A4000C11-B22E-46B7-86BC-3CDF172DD3F7}"/>
    <dgm:cxn modelId="{C4BA3EA5-ED9F-4279-A68A-809DB44E0A7A}" type="presOf" srcId="{005063B7-85D1-441D-87C6-864638207FCC}" destId="{414E1A2D-156C-4C1C-911F-E5659FCD7828}" srcOrd="0" destOrd="0" presId="urn:microsoft.com/office/officeart/2005/8/layout/vList2"/>
    <dgm:cxn modelId="{2DE2FBAD-CDE7-477C-98BD-7C0DD648B804}" srcId="{7BC353A9-2E9A-4B42-B9DF-3904A72B6A0E}" destId="{A726EAC7-2A9C-4851-8E47-61017A9F3128}" srcOrd="1" destOrd="0" parTransId="{EDDBB979-69B9-4F1B-9973-F856ED454782}" sibTransId="{3423CAA3-5668-4682-A807-5C7A79E9ECA2}"/>
    <dgm:cxn modelId="{C73B22AE-E86F-46E4-8551-FBE5F10A3DC2}" type="presOf" srcId="{0A93D2B6-C951-4493-A9F0-27CE84E7FE84}" destId="{491BAAA7-59AD-4EF7-B739-EE20658EF528}" srcOrd="0" destOrd="2" presId="urn:microsoft.com/office/officeart/2005/8/layout/vList2"/>
    <dgm:cxn modelId="{9A2900BD-51DA-4AEF-A50B-DEAFF3E30340}" srcId="{32A92ADC-2DDB-4F75-BBE4-F68B02727FBB}" destId="{3541C444-4C3E-441E-B4DD-2DD288B3032D}" srcOrd="3" destOrd="0" parTransId="{0A32BAE9-BF28-4EEB-A0BB-8C7D35E515ED}" sibTransId="{4D06BFD7-4280-4B92-83BF-E8C80EC79667}"/>
    <dgm:cxn modelId="{51BDC4C0-44AC-41F8-BA0D-F0BC6B4C449F}" srcId="{005063B7-85D1-441D-87C6-864638207FCC}" destId="{FB80A06B-DC17-4ABD-AE05-BFC37573EE5B}" srcOrd="1" destOrd="0" parTransId="{6FAEB494-ACFD-4DEC-A9B2-F8CE85202628}" sibTransId="{6A28D362-86E9-4207-9210-7BE6878C9429}"/>
    <dgm:cxn modelId="{77185CC9-B112-48C1-A706-BD0EB709863F}" type="presOf" srcId="{5452771C-6E30-47D9-8FDA-CF3884187D73}" destId="{F6D962F0-735D-458E-BF8C-C3600395B2EE}" srcOrd="0" destOrd="0" presId="urn:microsoft.com/office/officeart/2005/8/layout/vList2"/>
    <dgm:cxn modelId="{4B2FB1CE-7E57-4918-87E7-BE9764060ECC}" srcId="{FB80A06B-DC17-4ABD-AE05-BFC37573EE5B}" destId="{05E74D26-123F-46B5-A863-C50524B56A30}" srcOrd="3" destOrd="0" parTransId="{732B8807-FCA5-44AE-B722-E5AA713DD1DA}" sibTransId="{17F722AA-A1BF-4028-AF27-00F7B53BF6CD}"/>
    <dgm:cxn modelId="{11108AD7-C2C8-437F-AA85-DD05A3C3FF9D}" type="presOf" srcId="{7BC353A9-2E9A-4B42-B9DF-3904A72B6A0E}" destId="{FE62C24B-FC5C-4D07-8954-621E16F7415F}" srcOrd="0" destOrd="0" presId="urn:microsoft.com/office/officeart/2005/8/layout/vList2"/>
    <dgm:cxn modelId="{F01306DE-B8B5-4586-9650-532F2D776313}" type="presOf" srcId="{3541C444-4C3E-441E-B4DD-2DD288B3032D}" destId="{11C92087-426F-44C6-ACAC-C9F2E9A3CFA2}" srcOrd="0" destOrd="3" presId="urn:microsoft.com/office/officeart/2005/8/layout/vList2"/>
    <dgm:cxn modelId="{11D457EF-699D-4917-891E-7F875F790F53}" srcId="{7BC353A9-2E9A-4B42-B9DF-3904A72B6A0E}" destId="{55A5260C-9E81-45EC-84B5-17B552AD9CE6}" srcOrd="3" destOrd="0" parTransId="{3A0D13CE-8744-4878-B826-4DB598DFF8B5}" sibTransId="{CC350B78-7836-4260-9776-B95C634C2DAF}"/>
    <dgm:cxn modelId="{9E78A9F0-7892-4FE2-8D62-E2BD19B2CDDB}" type="presOf" srcId="{55A5260C-9E81-45EC-84B5-17B552AD9CE6}" destId="{F6D962F0-735D-458E-BF8C-C3600395B2EE}" srcOrd="0" destOrd="3" presId="urn:microsoft.com/office/officeart/2005/8/layout/vList2"/>
    <dgm:cxn modelId="{4F0582FA-1E35-478D-980C-84FA1ED22FC7}" type="presOf" srcId="{32A92ADC-2DDB-4F75-BBE4-F68B02727FBB}" destId="{46DB61D6-69F9-4113-B32E-3051001DF606}" srcOrd="0" destOrd="0" presId="urn:microsoft.com/office/officeart/2005/8/layout/vList2"/>
    <dgm:cxn modelId="{77CC3611-F51C-4D5B-B327-A6AA8F3DBD3B}" type="presParOf" srcId="{414E1A2D-156C-4C1C-911F-E5659FCD7828}" destId="{FE62C24B-FC5C-4D07-8954-621E16F7415F}" srcOrd="0" destOrd="0" presId="urn:microsoft.com/office/officeart/2005/8/layout/vList2"/>
    <dgm:cxn modelId="{0A93E7C4-ECB1-4045-8BF4-6DAFAB17233A}" type="presParOf" srcId="{414E1A2D-156C-4C1C-911F-E5659FCD7828}" destId="{F6D962F0-735D-458E-BF8C-C3600395B2EE}" srcOrd="1" destOrd="0" presId="urn:microsoft.com/office/officeart/2005/8/layout/vList2"/>
    <dgm:cxn modelId="{61A63C60-D835-4E7A-8BD0-87A7C726B894}" type="presParOf" srcId="{414E1A2D-156C-4C1C-911F-E5659FCD7828}" destId="{E251B4CC-200E-43D3-8A67-1ABE95517A7E}" srcOrd="2" destOrd="0" presId="urn:microsoft.com/office/officeart/2005/8/layout/vList2"/>
    <dgm:cxn modelId="{CBB39D02-49A2-49E8-9FE7-8B964CC129A9}" type="presParOf" srcId="{414E1A2D-156C-4C1C-911F-E5659FCD7828}" destId="{491BAAA7-59AD-4EF7-B739-EE20658EF528}" srcOrd="3" destOrd="0" presId="urn:microsoft.com/office/officeart/2005/8/layout/vList2"/>
    <dgm:cxn modelId="{7500C647-3197-4725-A35E-541D6F0C74AE}" type="presParOf" srcId="{414E1A2D-156C-4C1C-911F-E5659FCD7828}" destId="{46DB61D6-69F9-4113-B32E-3051001DF606}" srcOrd="4" destOrd="0" presId="urn:microsoft.com/office/officeart/2005/8/layout/vList2"/>
    <dgm:cxn modelId="{7BE79BB5-5F1F-4AE4-A382-668F7BEB3F69}" type="presParOf" srcId="{414E1A2D-156C-4C1C-911F-E5659FCD7828}" destId="{11C92087-426F-44C6-ACAC-C9F2E9A3CFA2}" srcOrd="5" destOrd="0" presId="urn:microsoft.com/office/officeart/2005/8/layout/vList2"/>
  </dgm:cxnLst>
  <dgm:bg>
    <a:noFill/>
  </dgm:bg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2DD9BEDF-B9E2-4ABA-A056-FFA32216D3C8}" type="doc">
      <dgm:prSet loTypeId="urn:microsoft.com/office/officeart/2005/8/layout/vList2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fi-FI"/>
        </a:p>
      </dgm:t>
    </dgm:pt>
    <dgm:pt modelId="{FDB40630-942D-4475-833B-DC48C1B2AEF9}">
      <dgm:prSet/>
      <dgm:spPr>
        <a:solidFill>
          <a:srgbClr val="EC008C"/>
        </a:solidFill>
      </dgm:spPr>
      <dgm:t>
        <a:bodyPr/>
        <a:lstStyle/>
        <a:p>
          <a:r>
            <a:rPr lang="fi-FI" dirty="0"/>
            <a:t>mikäli happea ei ole käytettävissä, soluhengitys ei etene </a:t>
          </a:r>
          <a:r>
            <a:rPr lang="fi-FI" dirty="0" err="1"/>
            <a:t>glykolyysiä</a:t>
          </a:r>
          <a:r>
            <a:rPr lang="fi-FI" dirty="0"/>
            <a:t> pidemmälle</a:t>
          </a:r>
        </a:p>
      </dgm:t>
    </dgm:pt>
    <dgm:pt modelId="{EB145E02-B538-4AA7-871E-FA081BB24459}" type="parTrans" cxnId="{23C85598-1ECE-4744-A81F-1D8281EE6A25}">
      <dgm:prSet/>
      <dgm:spPr/>
      <dgm:t>
        <a:bodyPr/>
        <a:lstStyle/>
        <a:p>
          <a:endParaRPr lang="fi-FI"/>
        </a:p>
      </dgm:t>
    </dgm:pt>
    <dgm:pt modelId="{0E1C6016-7DEB-4E2F-9797-C18C672777F4}" type="sibTrans" cxnId="{23C85598-1ECE-4744-A81F-1D8281EE6A25}">
      <dgm:prSet/>
      <dgm:spPr/>
      <dgm:t>
        <a:bodyPr/>
        <a:lstStyle/>
        <a:p>
          <a:endParaRPr lang="fi-FI"/>
        </a:p>
      </dgm:t>
    </dgm:pt>
    <dgm:pt modelId="{F6615065-2005-41BC-B862-63A034992675}">
      <dgm:prSet/>
      <dgm:spPr>
        <a:solidFill>
          <a:srgbClr val="F27CB1"/>
        </a:solidFill>
      </dgm:spPr>
      <dgm:t>
        <a:bodyPr/>
        <a:lstStyle/>
        <a:p>
          <a:r>
            <a:rPr lang="fi-FI" dirty="0"/>
            <a:t>käymisreaktioissa yhdestä glukoosimolekyylistä saadaan 2 ATP-molekyyliä</a:t>
          </a:r>
        </a:p>
      </dgm:t>
    </dgm:pt>
    <dgm:pt modelId="{31A3184F-DCD4-41E5-AB4A-25B864992E1E}" type="parTrans" cxnId="{40530598-7ED6-4EFB-BF49-4BF3CAD13924}">
      <dgm:prSet/>
      <dgm:spPr/>
      <dgm:t>
        <a:bodyPr/>
        <a:lstStyle/>
        <a:p>
          <a:endParaRPr lang="fi-FI"/>
        </a:p>
      </dgm:t>
    </dgm:pt>
    <dgm:pt modelId="{FB07C5EA-8A36-46B4-9300-357E9878D430}" type="sibTrans" cxnId="{40530598-7ED6-4EFB-BF49-4BF3CAD13924}">
      <dgm:prSet/>
      <dgm:spPr/>
      <dgm:t>
        <a:bodyPr/>
        <a:lstStyle/>
        <a:p>
          <a:endParaRPr lang="fi-FI"/>
        </a:p>
      </dgm:t>
    </dgm:pt>
    <dgm:pt modelId="{CD8CBA28-2B67-4C47-B70A-FAEF7DCFB767}">
      <dgm:prSet/>
      <dgm:spPr>
        <a:solidFill>
          <a:srgbClr val="F599C3"/>
        </a:solidFill>
      </dgm:spPr>
      <dgm:t>
        <a:bodyPr/>
        <a:lstStyle/>
        <a:p>
          <a:r>
            <a:rPr lang="fi-FI" dirty="0"/>
            <a:t>maitohappokäymistä tapahtuu lihassoluissa ja joissakin bakteereissa</a:t>
          </a:r>
          <a:endParaRPr lang="fi-FI" dirty="0">
            <a:cs typeface="Calibri"/>
          </a:endParaRPr>
        </a:p>
      </dgm:t>
    </dgm:pt>
    <dgm:pt modelId="{EA670152-1BC3-4B37-B514-C56CBFADA178}" type="parTrans" cxnId="{DE6579A2-E414-4B3B-828A-4584D06E765E}">
      <dgm:prSet/>
      <dgm:spPr/>
      <dgm:t>
        <a:bodyPr/>
        <a:lstStyle/>
        <a:p>
          <a:endParaRPr lang="fi-FI"/>
        </a:p>
      </dgm:t>
    </dgm:pt>
    <dgm:pt modelId="{3AC1AA47-BD2D-48E5-A5B4-75F05173E06F}" type="sibTrans" cxnId="{DE6579A2-E414-4B3B-828A-4584D06E765E}">
      <dgm:prSet/>
      <dgm:spPr/>
      <dgm:t>
        <a:bodyPr/>
        <a:lstStyle/>
        <a:p>
          <a:endParaRPr lang="fi-FI"/>
        </a:p>
      </dgm:t>
    </dgm:pt>
    <dgm:pt modelId="{C8466949-07CC-4D38-A09B-EE044C926505}">
      <dgm:prSet/>
      <dgm:spPr>
        <a:solidFill>
          <a:srgbClr val="F9C3DB"/>
        </a:solidFill>
      </dgm:spPr>
      <dgm:t>
        <a:bodyPr/>
        <a:lstStyle/>
        <a:p>
          <a:r>
            <a:rPr lang="fi-FI" dirty="0"/>
            <a:t>alkoholikäymistä tapahtuu mm. hiivasolujen joutuessa hapettomiin oloihin</a:t>
          </a:r>
        </a:p>
      </dgm:t>
    </dgm:pt>
    <dgm:pt modelId="{D0456D1D-B421-482E-99FE-4D45C5FE3127}" type="parTrans" cxnId="{B61BDB36-0AA2-4E41-BEB7-50EA3ED75C18}">
      <dgm:prSet/>
      <dgm:spPr/>
      <dgm:t>
        <a:bodyPr/>
        <a:lstStyle/>
        <a:p>
          <a:endParaRPr lang="fi-FI"/>
        </a:p>
      </dgm:t>
    </dgm:pt>
    <dgm:pt modelId="{7D42D15B-4CFD-4B35-8E0F-4C316F80D94F}" type="sibTrans" cxnId="{B61BDB36-0AA2-4E41-BEB7-50EA3ED75C18}">
      <dgm:prSet/>
      <dgm:spPr/>
      <dgm:t>
        <a:bodyPr/>
        <a:lstStyle/>
        <a:p>
          <a:endParaRPr lang="fi-FI"/>
        </a:p>
      </dgm:t>
    </dgm:pt>
    <dgm:pt modelId="{2A2F781F-16C1-4D29-B08D-ACB557B90863}" type="pres">
      <dgm:prSet presAssocID="{2DD9BEDF-B9E2-4ABA-A056-FFA32216D3C8}" presName="linear" presStyleCnt="0">
        <dgm:presLayoutVars>
          <dgm:animLvl val="lvl"/>
          <dgm:resizeHandles val="exact"/>
        </dgm:presLayoutVars>
      </dgm:prSet>
      <dgm:spPr/>
    </dgm:pt>
    <dgm:pt modelId="{A033DC3D-C63F-43D1-8859-07FC97577F71}" type="pres">
      <dgm:prSet presAssocID="{FDB40630-942D-4475-833B-DC48C1B2AEF9}" presName="parentText" presStyleLbl="node1" presStyleIdx="0" presStyleCnt="4">
        <dgm:presLayoutVars>
          <dgm:chMax val="0"/>
          <dgm:bulletEnabled val="1"/>
        </dgm:presLayoutVars>
      </dgm:prSet>
      <dgm:spPr/>
    </dgm:pt>
    <dgm:pt modelId="{786D5744-4016-4336-AC72-5D6D8FE2A223}" type="pres">
      <dgm:prSet presAssocID="{0E1C6016-7DEB-4E2F-9797-C18C672777F4}" presName="spacer" presStyleCnt="0"/>
      <dgm:spPr/>
    </dgm:pt>
    <dgm:pt modelId="{C42994E0-13C1-4CE5-A4D0-FFFBB221FF13}" type="pres">
      <dgm:prSet presAssocID="{F6615065-2005-41BC-B862-63A034992675}" presName="parentText" presStyleLbl="node1" presStyleIdx="1" presStyleCnt="4">
        <dgm:presLayoutVars>
          <dgm:chMax val="0"/>
          <dgm:bulletEnabled val="1"/>
        </dgm:presLayoutVars>
      </dgm:prSet>
      <dgm:spPr/>
    </dgm:pt>
    <dgm:pt modelId="{3A542F8B-220C-4BE8-9849-C68E12DDD81D}" type="pres">
      <dgm:prSet presAssocID="{FB07C5EA-8A36-46B4-9300-357E9878D430}" presName="spacer" presStyleCnt="0"/>
      <dgm:spPr/>
    </dgm:pt>
    <dgm:pt modelId="{587184FA-4B88-4D35-9ECA-60E1344CE343}" type="pres">
      <dgm:prSet presAssocID="{CD8CBA28-2B67-4C47-B70A-FAEF7DCFB767}" presName="parentText" presStyleLbl="node1" presStyleIdx="2" presStyleCnt="4">
        <dgm:presLayoutVars>
          <dgm:chMax val="0"/>
          <dgm:bulletEnabled val="1"/>
        </dgm:presLayoutVars>
      </dgm:prSet>
      <dgm:spPr/>
    </dgm:pt>
    <dgm:pt modelId="{3E5B8476-75BD-4CE5-A73C-CE9EC7A2A19C}" type="pres">
      <dgm:prSet presAssocID="{3AC1AA47-BD2D-48E5-A5B4-75F05173E06F}" presName="spacer" presStyleCnt="0"/>
      <dgm:spPr/>
    </dgm:pt>
    <dgm:pt modelId="{0C04F775-0AE8-44F7-93FA-4E024220B7AC}" type="pres">
      <dgm:prSet presAssocID="{C8466949-07CC-4D38-A09B-EE044C926505}" presName="parentText" presStyleLbl="node1" presStyleIdx="3" presStyleCnt="4">
        <dgm:presLayoutVars>
          <dgm:chMax val="0"/>
          <dgm:bulletEnabled val="1"/>
        </dgm:presLayoutVars>
      </dgm:prSet>
      <dgm:spPr/>
    </dgm:pt>
  </dgm:ptLst>
  <dgm:cxnLst>
    <dgm:cxn modelId="{1262410C-ED79-4A40-8380-210031F6F844}" type="presOf" srcId="{F6615065-2005-41BC-B862-63A034992675}" destId="{C42994E0-13C1-4CE5-A4D0-FFFBB221FF13}" srcOrd="0" destOrd="0" presId="urn:microsoft.com/office/officeart/2005/8/layout/vList2"/>
    <dgm:cxn modelId="{B61BDB36-0AA2-4E41-BEB7-50EA3ED75C18}" srcId="{2DD9BEDF-B9E2-4ABA-A056-FFA32216D3C8}" destId="{C8466949-07CC-4D38-A09B-EE044C926505}" srcOrd="3" destOrd="0" parTransId="{D0456D1D-B421-482E-99FE-4D45C5FE3127}" sibTransId="{7D42D15B-4CFD-4B35-8E0F-4C316F80D94F}"/>
    <dgm:cxn modelId="{40530598-7ED6-4EFB-BF49-4BF3CAD13924}" srcId="{2DD9BEDF-B9E2-4ABA-A056-FFA32216D3C8}" destId="{F6615065-2005-41BC-B862-63A034992675}" srcOrd="1" destOrd="0" parTransId="{31A3184F-DCD4-41E5-AB4A-25B864992E1E}" sibTransId="{FB07C5EA-8A36-46B4-9300-357E9878D430}"/>
    <dgm:cxn modelId="{23C85598-1ECE-4744-A81F-1D8281EE6A25}" srcId="{2DD9BEDF-B9E2-4ABA-A056-FFA32216D3C8}" destId="{FDB40630-942D-4475-833B-DC48C1B2AEF9}" srcOrd="0" destOrd="0" parTransId="{EB145E02-B538-4AA7-871E-FA081BB24459}" sibTransId="{0E1C6016-7DEB-4E2F-9797-C18C672777F4}"/>
    <dgm:cxn modelId="{DE6579A2-E414-4B3B-828A-4584D06E765E}" srcId="{2DD9BEDF-B9E2-4ABA-A056-FFA32216D3C8}" destId="{CD8CBA28-2B67-4C47-B70A-FAEF7DCFB767}" srcOrd="2" destOrd="0" parTransId="{EA670152-1BC3-4B37-B514-C56CBFADA178}" sibTransId="{3AC1AA47-BD2D-48E5-A5B4-75F05173E06F}"/>
    <dgm:cxn modelId="{90BED6AB-2622-4A47-8DD0-AEDA6876D029}" type="presOf" srcId="{FDB40630-942D-4475-833B-DC48C1B2AEF9}" destId="{A033DC3D-C63F-43D1-8859-07FC97577F71}" srcOrd="0" destOrd="0" presId="urn:microsoft.com/office/officeart/2005/8/layout/vList2"/>
    <dgm:cxn modelId="{80B36DC0-A1CA-42E5-B78A-79BFF3C79841}" type="presOf" srcId="{2DD9BEDF-B9E2-4ABA-A056-FFA32216D3C8}" destId="{2A2F781F-16C1-4D29-B08D-ACB557B90863}" srcOrd="0" destOrd="0" presId="urn:microsoft.com/office/officeart/2005/8/layout/vList2"/>
    <dgm:cxn modelId="{BF682BF2-EE9C-4C7D-A578-2A4145656429}" type="presOf" srcId="{CD8CBA28-2B67-4C47-B70A-FAEF7DCFB767}" destId="{587184FA-4B88-4D35-9ECA-60E1344CE343}" srcOrd="0" destOrd="0" presId="urn:microsoft.com/office/officeart/2005/8/layout/vList2"/>
    <dgm:cxn modelId="{5DE3F0FE-378C-4D05-BF10-7400F633B2C0}" type="presOf" srcId="{C8466949-07CC-4D38-A09B-EE044C926505}" destId="{0C04F775-0AE8-44F7-93FA-4E024220B7AC}" srcOrd="0" destOrd="0" presId="urn:microsoft.com/office/officeart/2005/8/layout/vList2"/>
    <dgm:cxn modelId="{D71AE3A6-9161-4990-8BB5-0D4ADB2D81C5}" type="presParOf" srcId="{2A2F781F-16C1-4D29-B08D-ACB557B90863}" destId="{A033DC3D-C63F-43D1-8859-07FC97577F71}" srcOrd="0" destOrd="0" presId="urn:microsoft.com/office/officeart/2005/8/layout/vList2"/>
    <dgm:cxn modelId="{46B33FCB-185D-48A5-824F-644AE3B2D45D}" type="presParOf" srcId="{2A2F781F-16C1-4D29-B08D-ACB557B90863}" destId="{786D5744-4016-4336-AC72-5D6D8FE2A223}" srcOrd="1" destOrd="0" presId="urn:microsoft.com/office/officeart/2005/8/layout/vList2"/>
    <dgm:cxn modelId="{B67045F6-FF67-4292-BDDA-56426B1D8AC7}" type="presParOf" srcId="{2A2F781F-16C1-4D29-B08D-ACB557B90863}" destId="{C42994E0-13C1-4CE5-A4D0-FFFBB221FF13}" srcOrd="2" destOrd="0" presId="urn:microsoft.com/office/officeart/2005/8/layout/vList2"/>
    <dgm:cxn modelId="{AFC303CD-AF00-4B12-92F3-756F9295EAAC}" type="presParOf" srcId="{2A2F781F-16C1-4D29-B08D-ACB557B90863}" destId="{3A542F8B-220C-4BE8-9849-C68E12DDD81D}" srcOrd="3" destOrd="0" presId="urn:microsoft.com/office/officeart/2005/8/layout/vList2"/>
    <dgm:cxn modelId="{83B9F27E-4AD4-47A4-9A9A-40992B800FA1}" type="presParOf" srcId="{2A2F781F-16C1-4D29-B08D-ACB557B90863}" destId="{587184FA-4B88-4D35-9ECA-60E1344CE343}" srcOrd="4" destOrd="0" presId="urn:microsoft.com/office/officeart/2005/8/layout/vList2"/>
    <dgm:cxn modelId="{5081D49F-1AC5-4995-B7BC-DDB835355925}" type="presParOf" srcId="{2A2F781F-16C1-4D29-B08D-ACB557B90863}" destId="{3E5B8476-75BD-4CE5-A73C-CE9EC7A2A19C}" srcOrd="5" destOrd="0" presId="urn:microsoft.com/office/officeart/2005/8/layout/vList2"/>
    <dgm:cxn modelId="{04A15B87-710E-45E1-9C10-C247E1A46092}" type="presParOf" srcId="{2A2F781F-16C1-4D29-B08D-ACB557B90863}" destId="{0C04F775-0AE8-44F7-93FA-4E024220B7AC}" srcOrd="6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9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033DC3D-C63F-43D1-8859-07FC97577F71}">
      <dsp:nvSpPr>
        <dsp:cNvPr id="0" name=""/>
        <dsp:cNvSpPr/>
      </dsp:nvSpPr>
      <dsp:spPr>
        <a:xfrm>
          <a:off x="0" y="21809"/>
          <a:ext cx="10515600" cy="913678"/>
        </a:xfrm>
        <a:prstGeom prst="roundRect">
          <a:avLst/>
        </a:prstGeom>
        <a:solidFill>
          <a:srgbClr val="EC008C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7630" tIns="87630" rIns="87630" bIns="87630" numCol="1" spcCol="1270" anchor="ctr" anchorCtr="0">
          <a:noAutofit/>
        </a:bodyPr>
        <a:lstStyle/>
        <a:p>
          <a:pPr marL="0" lvl="0" indent="0" algn="l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i-FI" sz="2300" kern="1200" dirty="0"/>
            <a:t>glukoosi on solujen tavallisin energialähde</a:t>
          </a:r>
        </a:p>
      </dsp:txBody>
      <dsp:txXfrm>
        <a:off x="44602" y="66411"/>
        <a:ext cx="10426396" cy="824474"/>
      </dsp:txXfrm>
    </dsp:sp>
    <dsp:sp modelId="{528E58FA-D514-4974-95F1-C3A81A6CC8AA}">
      <dsp:nvSpPr>
        <dsp:cNvPr id="0" name=""/>
        <dsp:cNvSpPr/>
      </dsp:nvSpPr>
      <dsp:spPr>
        <a:xfrm>
          <a:off x="0" y="1001728"/>
          <a:ext cx="10515600" cy="913678"/>
        </a:xfrm>
        <a:prstGeom prst="roundRect">
          <a:avLst/>
        </a:prstGeom>
        <a:solidFill>
          <a:srgbClr val="F27CB1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7630" tIns="87630" rIns="87630" bIns="87630" numCol="1" spcCol="1270" anchor="ctr" anchorCtr="0">
          <a:noAutofit/>
        </a:bodyPr>
        <a:lstStyle/>
        <a:p>
          <a:pPr marL="0" lvl="0" indent="0" algn="l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i-FI" sz="2300" kern="1200" dirty="0"/>
            <a:t>sekä omavaraiset että </a:t>
          </a:r>
          <a:r>
            <a:rPr lang="fi-FI" sz="2300" kern="1200" dirty="0" err="1"/>
            <a:t>toisenvaraiset</a:t>
          </a:r>
          <a:r>
            <a:rPr lang="fi-FI" sz="2300" kern="1200" dirty="0"/>
            <a:t> solut vapauttavat energiaa käyttöönsä orgaanisista yhdisteistä </a:t>
          </a:r>
          <a:endParaRPr lang="fi-FI" sz="2300" kern="1200" dirty="0">
            <a:cs typeface="Calibri"/>
          </a:endParaRPr>
        </a:p>
      </dsp:txBody>
      <dsp:txXfrm>
        <a:off x="44602" y="1046330"/>
        <a:ext cx="10426396" cy="824474"/>
      </dsp:txXfrm>
    </dsp:sp>
    <dsp:sp modelId="{424E4846-D5F1-43E2-A1A2-0D91359A85CD}">
      <dsp:nvSpPr>
        <dsp:cNvPr id="0" name=""/>
        <dsp:cNvSpPr/>
      </dsp:nvSpPr>
      <dsp:spPr>
        <a:xfrm>
          <a:off x="0" y="1981647"/>
          <a:ext cx="10515600" cy="913678"/>
        </a:xfrm>
        <a:prstGeom prst="roundRect">
          <a:avLst/>
        </a:prstGeom>
        <a:solidFill>
          <a:srgbClr val="F599C3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7630" tIns="87630" rIns="87630" bIns="87630" numCol="1" spcCol="1270" anchor="ctr" anchorCtr="0">
          <a:noAutofit/>
        </a:bodyPr>
        <a:lstStyle/>
        <a:p>
          <a:pPr marL="0" lvl="0" indent="0" algn="l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i-FI" sz="2300" kern="1200" dirty="0"/>
            <a:t>hapellisissa oloissa energian vapautus tapahtuu soluhengityksessä </a:t>
          </a:r>
          <a:endParaRPr lang="fi-FI" sz="2300" kern="1200" dirty="0">
            <a:cs typeface="Calibri"/>
          </a:endParaRPr>
        </a:p>
      </dsp:txBody>
      <dsp:txXfrm>
        <a:off x="44602" y="2026249"/>
        <a:ext cx="10426396" cy="824474"/>
      </dsp:txXfrm>
    </dsp:sp>
    <dsp:sp modelId="{670C3138-35C4-4325-817E-26AD5BE05F94}">
      <dsp:nvSpPr>
        <dsp:cNvPr id="0" name=""/>
        <dsp:cNvSpPr/>
      </dsp:nvSpPr>
      <dsp:spPr>
        <a:xfrm>
          <a:off x="0" y="2961565"/>
          <a:ext cx="10515600" cy="913678"/>
        </a:xfrm>
        <a:prstGeom prst="roundRect">
          <a:avLst/>
        </a:prstGeom>
        <a:solidFill>
          <a:srgbClr val="F9C3DB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7630" tIns="87630" rIns="87630" bIns="87630" numCol="1" spcCol="1270" anchor="ctr" anchorCtr="0">
          <a:noAutofit/>
        </a:bodyPr>
        <a:lstStyle/>
        <a:p>
          <a:pPr marL="0" lvl="0" indent="0" algn="l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i-FI" sz="2300" kern="1200" dirty="0"/>
            <a:t>hapettomissa olissa energian vapautus tapahtuu käymisreaktiossa</a:t>
          </a:r>
          <a:endParaRPr lang="fi-FI" sz="2300" kern="1200" dirty="0">
            <a:cs typeface="Calibri"/>
          </a:endParaRPr>
        </a:p>
      </dsp:txBody>
      <dsp:txXfrm>
        <a:off x="44602" y="3006167"/>
        <a:ext cx="10426396" cy="824474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2041109-FF81-4945-89B7-A8A0C017B20F}">
      <dsp:nvSpPr>
        <dsp:cNvPr id="0" name=""/>
        <dsp:cNvSpPr/>
      </dsp:nvSpPr>
      <dsp:spPr>
        <a:xfrm>
          <a:off x="0" y="54212"/>
          <a:ext cx="3484782" cy="3800160"/>
        </a:xfrm>
        <a:prstGeom prst="roundRect">
          <a:avLst/>
        </a:prstGeom>
        <a:solidFill>
          <a:srgbClr val="EC008C"/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10490" tIns="110490" rIns="110490" bIns="110490" numCol="1" spcCol="1270" anchor="ctr" anchorCtr="0">
          <a:noAutofit/>
        </a:bodyPr>
        <a:lstStyle/>
        <a:p>
          <a:pPr marL="0" lvl="0" indent="0" algn="l" defTabSz="1289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i-FI" sz="2900" kern="1200" dirty="0">
              <a:cs typeface="Calibri"/>
            </a:rPr>
            <a:t>fotosynteesissä syntyneen glukoosin sidosenergia muuntuu soluille käyttökelpoiseen muotoon soluhengityksessä</a:t>
          </a:r>
          <a:endParaRPr lang="en-US" sz="2900" kern="1200" dirty="0"/>
        </a:p>
      </dsp:txBody>
      <dsp:txXfrm>
        <a:off x="170113" y="224325"/>
        <a:ext cx="3144556" cy="3459934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2041109-FF81-4945-89B7-A8A0C017B20F}">
      <dsp:nvSpPr>
        <dsp:cNvPr id="0" name=""/>
        <dsp:cNvSpPr/>
      </dsp:nvSpPr>
      <dsp:spPr>
        <a:xfrm>
          <a:off x="0" y="206852"/>
          <a:ext cx="3484782" cy="1712880"/>
        </a:xfrm>
        <a:prstGeom prst="roundRect">
          <a:avLst/>
        </a:prstGeom>
        <a:solidFill>
          <a:srgbClr val="EC008C"/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i-FI" sz="2400" kern="1200" dirty="0"/>
            <a:t>energian vapauttaminen glukoosista alkaa solulimassa ja jatkuu mitokondrioissa</a:t>
          </a:r>
          <a:endParaRPr lang="en-US" sz="2400" kern="1200" dirty="0"/>
        </a:p>
      </dsp:txBody>
      <dsp:txXfrm>
        <a:off x="83616" y="290468"/>
        <a:ext cx="3317550" cy="1545648"/>
      </dsp:txXfrm>
    </dsp:sp>
    <dsp:sp modelId="{A11EE792-575F-4B04-B924-71A76FA4F951}">
      <dsp:nvSpPr>
        <dsp:cNvPr id="0" name=""/>
        <dsp:cNvSpPr/>
      </dsp:nvSpPr>
      <dsp:spPr>
        <a:xfrm>
          <a:off x="0" y="1988853"/>
          <a:ext cx="3484782" cy="1712880"/>
        </a:xfrm>
        <a:prstGeom prst="roundRect">
          <a:avLst/>
        </a:prstGeom>
        <a:solidFill>
          <a:srgbClr val="EC008C"/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Font typeface="Arial" charset="0"/>
            <a:buNone/>
          </a:pPr>
          <a:r>
            <a:rPr lang="fi-FI" sz="2400" kern="1200"/>
            <a:t>soluhengityksessä energia vapautuu glukoosista vaiheittain</a:t>
          </a:r>
          <a:endParaRPr lang="en-US" sz="2400" kern="1200" dirty="0"/>
        </a:p>
      </dsp:txBody>
      <dsp:txXfrm>
        <a:off x="83616" y="2072469"/>
        <a:ext cx="3317550" cy="1545648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E62C24B-FC5C-4D07-8954-621E16F7415F}">
      <dsp:nvSpPr>
        <dsp:cNvPr id="0" name=""/>
        <dsp:cNvSpPr/>
      </dsp:nvSpPr>
      <dsp:spPr>
        <a:xfrm>
          <a:off x="0" y="56578"/>
          <a:ext cx="5421443" cy="431730"/>
        </a:xfrm>
        <a:prstGeom prst="roundRect">
          <a:avLst/>
        </a:prstGeom>
        <a:solidFill>
          <a:srgbClr val="EC008C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i-FI" sz="1800" kern="1200" dirty="0"/>
            <a:t>1. </a:t>
          </a:r>
          <a:r>
            <a:rPr lang="fi-FI" sz="1800" kern="1200" dirty="0" err="1"/>
            <a:t>Glykolyysi</a:t>
          </a:r>
          <a:r>
            <a:rPr lang="fi-FI" sz="1800" kern="1200" dirty="0"/>
            <a:t> </a:t>
          </a:r>
          <a:endParaRPr lang="en-US" sz="1800" kern="1200" dirty="0"/>
        </a:p>
      </dsp:txBody>
      <dsp:txXfrm>
        <a:off x="21075" y="77653"/>
        <a:ext cx="5379293" cy="389580"/>
      </dsp:txXfrm>
    </dsp:sp>
    <dsp:sp modelId="{F6D962F0-735D-458E-BF8C-C3600395B2EE}">
      <dsp:nvSpPr>
        <dsp:cNvPr id="0" name=""/>
        <dsp:cNvSpPr/>
      </dsp:nvSpPr>
      <dsp:spPr>
        <a:xfrm>
          <a:off x="0" y="488308"/>
          <a:ext cx="5421443" cy="141588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72131" tIns="22860" rIns="128016" bIns="22860" numCol="1" spcCol="1270" anchor="t" anchorCtr="0">
          <a:noAutofit/>
        </a:bodyPr>
        <a:lstStyle/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fi-FI" sz="1400" kern="1200" dirty="0"/>
            <a:t>tapahtuu solulimassa</a:t>
          </a:r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fi-FI" sz="1400" kern="1200" dirty="0"/>
            <a:t>glukoosimolekyyli hajoaa kahdeksi </a:t>
          </a:r>
          <a:r>
            <a:rPr lang="fi-FI" sz="1400" kern="1200" dirty="0" err="1"/>
            <a:t>pyruvaattimolekyyliksi</a:t>
          </a:r>
          <a:r>
            <a:rPr lang="fi-FI" sz="1400" kern="1200" dirty="0"/>
            <a:t>, samalla irtoaa </a:t>
          </a:r>
          <a:r>
            <a:rPr lang="fi-FI" sz="1400" kern="1200" dirty="0" err="1"/>
            <a:t>vetyioneita</a:t>
          </a:r>
          <a:endParaRPr lang="fi-FI" sz="1400" kern="1200" dirty="0">
            <a:cs typeface="Calibri" panose="020F0502020204030204"/>
          </a:endParaRPr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fi-FI" sz="1400" kern="1200"/>
            <a:t>vapautuu pieni määrä energiaa, joka sitoutuu ATP-molekyyleihin</a:t>
          </a:r>
          <a:endParaRPr lang="fi-FI" sz="1400" kern="1200" dirty="0"/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fi-FI" sz="1400" kern="1200" dirty="0"/>
            <a:t>anaerobinen reaktio, eli siinä ei tarvita happea</a:t>
          </a:r>
          <a:endParaRPr lang="fi-FI" sz="1400" kern="1200" dirty="0">
            <a:cs typeface="Calibri"/>
          </a:endParaRPr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endParaRPr lang="fi-FI" sz="1400" kern="1200" dirty="0">
            <a:cs typeface="Calibri"/>
          </a:endParaRPr>
        </a:p>
      </dsp:txBody>
      <dsp:txXfrm>
        <a:off x="0" y="488308"/>
        <a:ext cx="5421443" cy="1415880"/>
      </dsp:txXfrm>
    </dsp:sp>
    <dsp:sp modelId="{E251B4CC-200E-43D3-8A67-1ABE95517A7E}">
      <dsp:nvSpPr>
        <dsp:cNvPr id="0" name=""/>
        <dsp:cNvSpPr/>
      </dsp:nvSpPr>
      <dsp:spPr>
        <a:xfrm>
          <a:off x="0" y="1904188"/>
          <a:ext cx="5421443" cy="431730"/>
        </a:xfrm>
        <a:prstGeom prst="roundRect">
          <a:avLst/>
        </a:prstGeom>
        <a:solidFill>
          <a:srgbClr val="F27CB1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i-FI" sz="1800" kern="1200" dirty="0"/>
            <a:t>2. Sitruunahappokierto</a:t>
          </a:r>
          <a:endParaRPr lang="fi-FI" sz="1800" kern="1200" dirty="0">
            <a:cs typeface="Calibri"/>
          </a:endParaRPr>
        </a:p>
      </dsp:txBody>
      <dsp:txXfrm>
        <a:off x="21075" y="1925263"/>
        <a:ext cx="5379293" cy="389580"/>
      </dsp:txXfrm>
    </dsp:sp>
    <dsp:sp modelId="{491BAAA7-59AD-4EF7-B739-EE20658EF528}">
      <dsp:nvSpPr>
        <dsp:cNvPr id="0" name=""/>
        <dsp:cNvSpPr/>
      </dsp:nvSpPr>
      <dsp:spPr>
        <a:xfrm>
          <a:off x="0" y="2335918"/>
          <a:ext cx="5421443" cy="96876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72131" tIns="22860" rIns="128016" bIns="22860" numCol="1" spcCol="1270" anchor="t" anchorCtr="0">
          <a:noAutofit/>
        </a:bodyPr>
        <a:lstStyle/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fi-FI" sz="1400" kern="1200"/>
            <a:t>pyruvaattimolekyylit kuljetetaan mitokondrion sisälle  </a:t>
          </a:r>
          <a:endParaRPr lang="fi-FI" sz="1400" kern="1200" dirty="0">
            <a:cs typeface="Calibri" panose="020F0502020204030204"/>
          </a:endParaRPr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fi-FI" sz="1400" kern="1200" dirty="0"/>
            <a:t>syntyy hiilidioksidia sekä vetyioneja ja elektroneja</a:t>
          </a:r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fi-FI" sz="1400" kern="1200" dirty="0"/>
            <a:t>vapautuu pieni määrä̈ energiaa, joka sitoutuu ATP-molekyyleihin</a:t>
          </a:r>
          <a:endParaRPr lang="fi-FI" sz="1400" kern="1200" dirty="0">
            <a:cs typeface="Calibri"/>
          </a:endParaRPr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endParaRPr lang="fi-FI" sz="1400" kern="1200" dirty="0">
            <a:cs typeface="Calibri"/>
          </a:endParaRPr>
        </a:p>
      </dsp:txBody>
      <dsp:txXfrm>
        <a:off x="0" y="2335918"/>
        <a:ext cx="5421443" cy="968760"/>
      </dsp:txXfrm>
    </dsp:sp>
    <dsp:sp modelId="{46DB61D6-69F9-4113-B32E-3051001DF606}">
      <dsp:nvSpPr>
        <dsp:cNvPr id="0" name=""/>
        <dsp:cNvSpPr/>
      </dsp:nvSpPr>
      <dsp:spPr>
        <a:xfrm>
          <a:off x="0" y="3304678"/>
          <a:ext cx="5421443" cy="431730"/>
        </a:xfrm>
        <a:prstGeom prst="roundRect">
          <a:avLst/>
        </a:prstGeom>
        <a:solidFill>
          <a:srgbClr val="F9C3DB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i-FI" sz="1800" kern="1200"/>
            <a:t>3. Elektroninsiirtoketju</a:t>
          </a:r>
          <a:endParaRPr lang="fi-FI" sz="1800" kern="1200" dirty="0">
            <a:cs typeface="Calibri"/>
          </a:endParaRPr>
        </a:p>
      </dsp:txBody>
      <dsp:txXfrm>
        <a:off x="21075" y="3325753"/>
        <a:ext cx="5379293" cy="389580"/>
      </dsp:txXfrm>
    </dsp:sp>
    <dsp:sp modelId="{11C92087-426F-44C6-ACAC-C9F2E9A3CFA2}">
      <dsp:nvSpPr>
        <dsp:cNvPr id="0" name=""/>
        <dsp:cNvSpPr/>
      </dsp:nvSpPr>
      <dsp:spPr>
        <a:xfrm>
          <a:off x="0" y="3736408"/>
          <a:ext cx="5421443" cy="137862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72131" tIns="22860" rIns="128016" bIns="22860" numCol="1" spcCol="1270" anchor="t" anchorCtr="0">
          <a:noAutofit/>
        </a:bodyPr>
        <a:lstStyle/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fi-FI" sz="1400" kern="1200"/>
            <a:t>vedynsiirtäjät kuljettavat vetyionit ja elektronit mitokondrion sisemmälle kalvolle</a:t>
          </a:r>
          <a:endParaRPr lang="fi-FI" sz="1400" kern="1200" dirty="0"/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fi-FI" sz="1400" kern="1200" dirty="0">
              <a:cs typeface="Calibri" panose="020F0502020204030204"/>
            </a:rPr>
            <a:t>elektroninsiirtäjämolekyylit kuljettavat vetyionit siirtäjältä toiselle, vapautuu runsaasti energiaa</a:t>
          </a:r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fi-FI" sz="1400" kern="1200" dirty="0">
              <a:cs typeface="Calibri" panose="020F0502020204030204"/>
            </a:rPr>
            <a:t>ATP-</a:t>
          </a:r>
          <a:r>
            <a:rPr lang="fi-FI" sz="1400" kern="1200" dirty="0" err="1">
              <a:cs typeface="Calibri" panose="020F0502020204030204"/>
            </a:rPr>
            <a:t>syntaasientsyymi</a:t>
          </a:r>
          <a:r>
            <a:rPr lang="fi-FI" sz="1400" kern="1200" dirty="0">
              <a:cs typeface="Calibri" panose="020F0502020204030204"/>
            </a:rPr>
            <a:t> katalysoi ATP: n muodostumista ADP: </a:t>
          </a:r>
          <a:r>
            <a:rPr lang="fi-FI" sz="1400" kern="1200" dirty="0" err="1">
              <a:cs typeface="Calibri" panose="020F0502020204030204"/>
            </a:rPr>
            <a:t>stä</a:t>
          </a:r>
          <a:endParaRPr lang="fi-FI" sz="1400" kern="1200" dirty="0"/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fi-FI" sz="1400" kern="1200"/>
            <a:t>syntyy 28 ATP-molekyyliä ja lopuksi vettä</a:t>
          </a:r>
          <a:endParaRPr lang="fi-FI" sz="1400" kern="1200" dirty="0">
            <a:cs typeface="Calibri" panose="020F0502020204030204"/>
          </a:endParaRPr>
        </a:p>
      </dsp:txBody>
      <dsp:txXfrm>
        <a:off x="0" y="3736408"/>
        <a:ext cx="5421443" cy="1378620"/>
      </dsp:txXfrm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033DC3D-C63F-43D1-8859-07FC97577F71}">
      <dsp:nvSpPr>
        <dsp:cNvPr id="0" name=""/>
        <dsp:cNvSpPr/>
      </dsp:nvSpPr>
      <dsp:spPr>
        <a:xfrm>
          <a:off x="0" y="693567"/>
          <a:ext cx="10515600" cy="575639"/>
        </a:xfrm>
        <a:prstGeom prst="roundRect">
          <a:avLst/>
        </a:prstGeom>
        <a:solidFill>
          <a:srgbClr val="EC008C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i-FI" sz="2400" kern="1200" dirty="0"/>
            <a:t>mikäli happea ei ole käytettävissä, soluhengitys ei etene </a:t>
          </a:r>
          <a:r>
            <a:rPr lang="fi-FI" sz="2400" kern="1200" dirty="0" err="1"/>
            <a:t>glykolyysiä</a:t>
          </a:r>
          <a:r>
            <a:rPr lang="fi-FI" sz="2400" kern="1200" dirty="0"/>
            <a:t> pidemmälle</a:t>
          </a:r>
        </a:p>
      </dsp:txBody>
      <dsp:txXfrm>
        <a:off x="28100" y="721667"/>
        <a:ext cx="10459400" cy="519439"/>
      </dsp:txXfrm>
    </dsp:sp>
    <dsp:sp modelId="{C42994E0-13C1-4CE5-A4D0-FFFBB221FF13}">
      <dsp:nvSpPr>
        <dsp:cNvPr id="0" name=""/>
        <dsp:cNvSpPr/>
      </dsp:nvSpPr>
      <dsp:spPr>
        <a:xfrm>
          <a:off x="0" y="1338327"/>
          <a:ext cx="10515600" cy="575639"/>
        </a:xfrm>
        <a:prstGeom prst="roundRect">
          <a:avLst/>
        </a:prstGeom>
        <a:solidFill>
          <a:srgbClr val="F27CB1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i-FI" sz="2400" kern="1200" dirty="0"/>
            <a:t>käymisreaktioissa yhdestä glukoosimolekyylistä saadaan 2 ATP-molekyyliä</a:t>
          </a:r>
        </a:p>
      </dsp:txBody>
      <dsp:txXfrm>
        <a:off x="28100" y="1366427"/>
        <a:ext cx="10459400" cy="519439"/>
      </dsp:txXfrm>
    </dsp:sp>
    <dsp:sp modelId="{587184FA-4B88-4D35-9ECA-60E1344CE343}">
      <dsp:nvSpPr>
        <dsp:cNvPr id="0" name=""/>
        <dsp:cNvSpPr/>
      </dsp:nvSpPr>
      <dsp:spPr>
        <a:xfrm>
          <a:off x="0" y="1983087"/>
          <a:ext cx="10515600" cy="575639"/>
        </a:xfrm>
        <a:prstGeom prst="roundRect">
          <a:avLst/>
        </a:prstGeom>
        <a:solidFill>
          <a:srgbClr val="F599C3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i-FI" sz="2400" kern="1200" dirty="0"/>
            <a:t>maitohappokäymistä tapahtuu lihassoluissa ja joissakin bakteereissa</a:t>
          </a:r>
          <a:endParaRPr lang="fi-FI" sz="2400" kern="1200" dirty="0">
            <a:cs typeface="Calibri"/>
          </a:endParaRPr>
        </a:p>
      </dsp:txBody>
      <dsp:txXfrm>
        <a:off x="28100" y="2011187"/>
        <a:ext cx="10459400" cy="519439"/>
      </dsp:txXfrm>
    </dsp:sp>
    <dsp:sp modelId="{0C04F775-0AE8-44F7-93FA-4E024220B7AC}">
      <dsp:nvSpPr>
        <dsp:cNvPr id="0" name=""/>
        <dsp:cNvSpPr/>
      </dsp:nvSpPr>
      <dsp:spPr>
        <a:xfrm>
          <a:off x="0" y="2627846"/>
          <a:ext cx="10515600" cy="575639"/>
        </a:xfrm>
        <a:prstGeom prst="roundRect">
          <a:avLst/>
        </a:prstGeom>
        <a:solidFill>
          <a:srgbClr val="F9C3DB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i-FI" sz="2400" kern="1200" dirty="0"/>
            <a:t>alkoholikäymistä tapahtuu mm. hiivasolujen joutuessa hapettomiin oloihin</a:t>
          </a:r>
        </a:p>
      </dsp:txBody>
      <dsp:txXfrm>
        <a:off x="28100" y="2655946"/>
        <a:ext cx="10459400" cy="519439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Ylätunnisteen paikkamerkki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i-FI"/>
          </a:p>
        </p:txBody>
      </p:sp>
      <p:sp>
        <p:nvSpPr>
          <p:cNvPr id="3" name="Päivämäärän paikkamerkki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9FFB6CB-8672-6C41-9AE6-36381D05995E}" type="datetimeFigureOut">
              <a:rPr lang="fi-FI" smtClean="0"/>
              <a:t>21.3.2022</a:t>
            </a:fld>
            <a:endParaRPr lang="fi-FI"/>
          </a:p>
        </p:txBody>
      </p:sp>
      <p:sp>
        <p:nvSpPr>
          <p:cNvPr id="4" name="Dian kuvan paikkamerkki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i-FI"/>
          </a:p>
        </p:txBody>
      </p:sp>
      <p:sp>
        <p:nvSpPr>
          <p:cNvPr id="5" name="Huomautusten paikkamerkki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</p:txBody>
      </p:sp>
      <p:sp>
        <p:nvSpPr>
          <p:cNvPr id="6" name="Alatunnisteen paikkamerkki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i-FI"/>
          </a:p>
        </p:txBody>
      </p:sp>
      <p:sp>
        <p:nvSpPr>
          <p:cNvPr id="7" name="Dian numeron paikkamerkki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72884B2-4647-6F4B-B58A-4FBCFBA433A2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41583848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Otsikko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fi-FI"/>
              <a:t>Muokkaa perustyylejä naps.</a:t>
            </a:r>
          </a:p>
        </p:txBody>
      </p:sp>
      <p:sp>
        <p:nvSpPr>
          <p:cNvPr id="3" name="Alaotsikko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i-FI"/>
              <a:t>Muokkaa alaotsikon perustyyliä napsautt.</a:t>
            </a:r>
          </a:p>
        </p:txBody>
      </p:sp>
      <p:sp>
        <p:nvSpPr>
          <p:cNvPr id="4" name="Päivämäärän paikkamerkki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BCE5A8-2DF2-0441-AD7A-3A45C0606D64}" type="datetimeFigureOut">
              <a:rPr lang="fi-FI" smtClean="0"/>
              <a:t>21.3.2022</a:t>
            </a:fld>
            <a:endParaRPr lang="fi-FI"/>
          </a:p>
        </p:txBody>
      </p:sp>
      <p:sp>
        <p:nvSpPr>
          <p:cNvPr id="5" name="Alatunnisteen paikkamerkki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6" name="Dian numeron paikkamerkki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564BC88-0981-1B45-8106-B85C2EFEC6E5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34645231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Otsikko ja pystysuora teks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/>
              <a:t>Muokkaa perustyylejä naps.</a:t>
            </a:r>
          </a:p>
        </p:txBody>
      </p:sp>
      <p:sp>
        <p:nvSpPr>
          <p:cNvPr id="3" name="Pystysuoran tekstin paikkamerkki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</p:txBody>
      </p:sp>
      <p:sp>
        <p:nvSpPr>
          <p:cNvPr id="4" name="Päivämäärän paikkamerkki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BCE5A8-2DF2-0441-AD7A-3A45C0606D64}" type="datetimeFigureOut">
              <a:rPr lang="fi-FI" smtClean="0"/>
              <a:t>21.3.2022</a:t>
            </a:fld>
            <a:endParaRPr lang="fi-FI"/>
          </a:p>
        </p:txBody>
      </p:sp>
      <p:sp>
        <p:nvSpPr>
          <p:cNvPr id="5" name="Alatunnisteen paikkamerkki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6" name="Dian numeron paikkamerkki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564BC88-0981-1B45-8106-B85C2EFEC6E5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74677167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Pystysuora otsikko ja teks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ystysuora otsikko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fi-FI"/>
              <a:t>Muokkaa perustyylejä naps.</a:t>
            </a:r>
          </a:p>
        </p:txBody>
      </p:sp>
      <p:sp>
        <p:nvSpPr>
          <p:cNvPr id="3" name="Pystysuoran tekstin paikkamerkki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</p:txBody>
      </p:sp>
      <p:sp>
        <p:nvSpPr>
          <p:cNvPr id="4" name="Päivämäärän paikkamerkki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BCE5A8-2DF2-0441-AD7A-3A45C0606D64}" type="datetimeFigureOut">
              <a:rPr lang="fi-FI" smtClean="0"/>
              <a:t>21.3.2022</a:t>
            </a:fld>
            <a:endParaRPr lang="fi-FI"/>
          </a:p>
        </p:txBody>
      </p:sp>
      <p:sp>
        <p:nvSpPr>
          <p:cNvPr id="5" name="Alatunnisteen paikkamerkki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6" name="Dian numeron paikkamerkki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564BC88-0981-1B45-8106-B85C2EFEC6E5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89003681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Otsikko ja sisält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/>
              <a:t>Muokkaa perustyylejä naps.</a:t>
            </a:r>
          </a:p>
        </p:txBody>
      </p:sp>
      <p:sp>
        <p:nvSpPr>
          <p:cNvPr id="3" name="Sisällön paikkamerkki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</p:txBody>
      </p:sp>
      <p:sp>
        <p:nvSpPr>
          <p:cNvPr id="4" name="Päivämäärän paikkamerkki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BCE5A8-2DF2-0441-AD7A-3A45C0606D64}" type="datetimeFigureOut">
              <a:rPr lang="fi-FI" smtClean="0"/>
              <a:t>21.3.2022</a:t>
            </a:fld>
            <a:endParaRPr lang="fi-FI"/>
          </a:p>
        </p:txBody>
      </p:sp>
      <p:sp>
        <p:nvSpPr>
          <p:cNvPr id="5" name="Alatunnisteen paikkamerkki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6" name="Dian numeron paikkamerkki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564BC88-0981-1B45-8106-B85C2EFEC6E5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78878573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Osan ylätunnis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fi-FI"/>
              <a:t>Muokkaa perustyylejä naps.</a:t>
            </a:r>
          </a:p>
        </p:txBody>
      </p:sp>
      <p:sp>
        <p:nvSpPr>
          <p:cNvPr id="3" name="Tekstin paikkamerkki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i-FI"/>
              <a:t>Muokkaa tekstin perustyylejä napsauttamalla</a:t>
            </a:r>
          </a:p>
        </p:txBody>
      </p:sp>
      <p:sp>
        <p:nvSpPr>
          <p:cNvPr id="4" name="Päivämäärän paikkamerkki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BCE5A8-2DF2-0441-AD7A-3A45C0606D64}" type="datetimeFigureOut">
              <a:rPr lang="fi-FI" smtClean="0"/>
              <a:t>21.3.2022</a:t>
            </a:fld>
            <a:endParaRPr lang="fi-FI"/>
          </a:p>
        </p:txBody>
      </p:sp>
      <p:sp>
        <p:nvSpPr>
          <p:cNvPr id="5" name="Alatunnisteen paikkamerkki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6" name="Dian numeron paikkamerkki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564BC88-0981-1B45-8106-B85C2EFEC6E5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49820656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Kaksi sisältökohdet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/>
              <a:t>Muokkaa perustyylejä naps.</a:t>
            </a:r>
          </a:p>
        </p:txBody>
      </p:sp>
      <p:sp>
        <p:nvSpPr>
          <p:cNvPr id="3" name="Sisällön paikkamerkki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</p:txBody>
      </p:sp>
      <p:sp>
        <p:nvSpPr>
          <p:cNvPr id="4" name="Sisällön paikkamerkki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</p:txBody>
      </p:sp>
      <p:sp>
        <p:nvSpPr>
          <p:cNvPr id="5" name="Päivämäärän paikkamerkki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BCE5A8-2DF2-0441-AD7A-3A45C0606D64}" type="datetimeFigureOut">
              <a:rPr lang="fi-FI" smtClean="0"/>
              <a:t>21.3.2022</a:t>
            </a:fld>
            <a:endParaRPr lang="fi-FI"/>
          </a:p>
        </p:txBody>
      </p:sp>
      <p:sp>
        <p:nvSpPr>
          <p:cNvPr id="6" name="Alatunnisteen paikkamerkki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7" name="Dian numeron paikkamerkki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564BC88-0981-1B45-8106-B85C2EFEC6E5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11196007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tail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fi-FI"/>
              <a:t>Muokkaa perustyylejä naps.</a:t>
            </a:r>
          </a:p>
        </p:txBody>
      </p:sp>
      <p:sp>
        <p:nvSpPr>
          <p:cNvPr id="3" name="Tekstin paikkamerkki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i-FI"/>
              <a:t>Muokkaa tekstin perustyylejä napsauttamalla</a:t>
            </a:r>
          </a:p>
        </p:txBody>
      </p:sp>
      <p:sp>
        <p:nvSpPr>
          <p:cNvPr id="4" name="Sisällön paikkamerkki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</p:txBody>
      </p:sp>
      <p:sp>
        <p:nvSpPr>
          <p:cNvPr id="5" name="Tekstin paikkamerkki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i-FI"/>
              <a:t>Muokkaa tekstin perustyylejä napsauttamalla</a:t>
            </a:r>
          </a:p>
        </p:txBody>
      </p:sp>
      <p:sp>
        <p:nvSpPr>
          <p:cNvPr id="6" name="Sisällön paikkamerkki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</p:txBody>
      </p:sp>
      <p:sp>
        <p:nvSpPr>
          <p:cNvPr id="7" name="Päivämäärän paikkamerkki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BCE5A8-2DF2-0441-AD7A-3A45C0606D64}" type="datetimeFigureOut">
              <a:rPr lang="fi-FI" smtClean="0"/>
              <a:t>21.3.2022</a:t>
            </a:fld>
            <a:endParaRPr lang="fi-FI"/>
          </a:p>
        </p:txBody>
      </p:sp>
      <p:sp>
        <p:nvSpPr>
          <p:cNvPr id="8" name="Alatunnisteen paikkamerkki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9" name="Dian numeron paikkamerkki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564BC88-0981-1B45-8106-B85C2EFEC6E5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31025071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Vain otsikk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/>
              <a:t>Muokkaa perustyylejä naps.</a:t>
            </a:r>
          </a:p>
        </p:txBody>
      </p:sp>
      <p:sp>
        <p:nvSpPr>
          <p:cNvPr id="3" name="Päivämäärän paikkamerkki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BCE5A8-2DF2-0441-AD7A-3A45C0606D64}" type="datetimeFigureOut">
              <a:rPr lang="fi-FI" smtClean="0"/>
              <a:t>21.3.2022</a:t>
            </a:fld>
            <a:endParaRPr lang="fi-FI"/>
          </a:p>
        </p:txBody>
      </p:sp>
      <p:sp>
        <p:nvSpPr>
          <p:cNvPr id="4" name="Alatunnisteen paikkamerkki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5" name="Dian numeron paikkamerkki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564BC88-0981-1B45-8106-B85C2EFEC6E5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08648428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yhjä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äivämäärän paikkamerkki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BCE5A8-2DF2-0441-AD7A-3A45C0606D64}" type="datetimeFigureOut">
              <a:rPr lang="fi-FI" smtClean="0"/>
              <a:t>21.3.2022</a:t>
            </a:fld>
            <a:endParaRPr lang="fi-FI"/>
          </a:p>
        </p:txBody>
      </p:sp>
      <p:sp>
        <p:nvSpPr>
          <p:cNvPr id="3" name="Alatunnisteen paikkamerkki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4" name="Dian numeron paikkamerkki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564BC88-0981-1B45-8106-B85C2EFEC6E5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48786032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Otsikollinen sisält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fi-FI"/>
              <a:t>Muokkaa perustyylejä naps.</a:t>
            </a:r>
          </a:p>
        </p:txBody>
      </p:sp>
      <p:sp>
        <p:nvSpPr>
          <p:cNvPr id="3" name="Sisällön paikkamerkki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</p:txBody>
      </p:sp>
      <p:sp>
        <p:nvSpPr>
          <p:cNvPr id="4" name="Tekstin paikkamerkki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i-FI"/>
              <a:t>Muokkaa tekstin perustyylejä napsauttamalla</a:t>
            </a:r>
          </a:p>
        </p:txBody>
      </p:sp>
      <p:sp>
        <p:nvSpPr>
          <p:cNvPr id="5" name="Päivämäärän paikkamerkki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BCE5A8-2DF2-0441-AD7A-3A45C0606D64}" type="datetimeFigureOut">
              <a:rPr lang="fi-FI" smtClean="0"/>
              <a:t>21.3.2022</a:t>
            </a:fld>
            <a:endParaRPr lang="fi-FI"/>
          </a:p>
        </p:txBody>
      </p:sp>
      <p:sp>
        <p:nvSpPr>
          <p:cNvPr id="6" name="Alatunnisteen paikkamerkki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7" name="Dian numeron paikkamerkki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564BC88-0981-1B45-8106-B85C2EFEC6E5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37593483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tsikollinen kuv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fi-FI"/>
              <a:t>Muokkaa perustyylejä naps.</a:t>
            </a:r>
          </a:p>
        </p:txBody>
      </p:sp>
      <p:sp>
        <p:nvSpPr>
          <p:cNvPr id="3" name="Kuvan paikkamerkki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fi-FI"/>
          </a:p>
        </p:txBody>
      </p:sp>
      <p:sp>
        <p:nvSpPr>
          <p:cNvPr id="4" name="Tekstin paikkamerkki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i-FI"/>
              <a:t>Muokkaa tekstin perustyylejä napsauttamalla</a:t>
            </a:r>
          </a:p>
        </p:txBody>
      </p:sp>
      <p:sp>
        <p:nvSpPr>
          <p:cNvPr id="5" name="Päivämäärän paikkamerkki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BCE5A8-2DF2-0441-AD7A-3A45C0606D64}" type="datetimeFigureOut">
              <a:rPr lang="fi-FI" smtClean="0"/>
              <a:t>21.3.2022</a:t>
            </a:fld>
            <a:endParaRPr lang="fi-FI"/>
          </a:p>
        </p:txBody>
      </p:sp>
      <p:sp>
        <p:nvSpPr>
          <p:cNvPr id="6" name="Alatunnisteen paikkamerkki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7" name="Dian numeron paikkamerkki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564BC88-0981-1B45-8106-B85C2EFEC6E5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43989917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i 7" hidden="1">
            <a:extLst>
              <a:ext uri="{FF2B5EF4-FFF2-40B4-BE49-F238E27FC236}">
                <a16:creationId xmlns:a16="http://schemas.microsoft.com/office/drawing/2014/main" id="{C41D900F-7DAD-4BA4-91FC-1E405899BD7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28926866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395" imgH="396" progId="TCLayout.ActiveDocument.1">
                  <p:embed/>
                </p:oleObj>
              </mc:Choice>
              <mc:Fallback>
                <p:oleObj name="think-cell Slide" r:id="rId14" imgW="395" imgH="396" progId="TCLayout.ActiveDocument.1">
                  <p:embed/>
                  <p:pic>
                    <p:nvPicPr>
                      <p:cNvPr id="8" name="Objekti 7" hidden="1">
                        <a:extLst>
                          <a:ext uri="{FF2B5EF4-FFF2-40B4-BE49-F238E27FC236}">
                            <a16:creationId xmlns:a16="http://schemas.microsoft.com/office/drawing/2014/main" id="{C41D900F-7DAD-4BA4-91FC-1E405899BD7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Otsikon paikkamerkki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fi-FI"/>
              <a:t>Muokkaa perustyylejä naps.</a:t>
            </a:r>
          </a:p>
        </p:txBody>
      </p:sp>
      <p:sp>
        <p:nvSpPr>
          <p:cNvPr id="3" name="Tekstin paikkamerkki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</p:txBody>
      </p:sp>
      <p:sp>
        <p:nvSpPr>
          <p:cNvPr id="4" name="Päivämäärän paikkamerkki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9BCE5A8-2DF2-0441-AD7A-3A45C0606D64}" type="datetimeFigureOut">
              <a:rPr lang="fi-FI" smtClean="0"/>
              <a:t>21.3.2022</a:t>
            </a:fld>
            <a:endParaRPr lang="fi-FI"/>
          </a:p>
        </p:txBody>
      </p:sp>
      <p:sp>
        <p:nvSpPr>
          <p:cNvPr id="5" name="Alatunnisteen paikkamerkki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fi-FI"/>
          </a:p>
        </p:txBody>
      </p:sp>
      <p:sp>
        <p:nvSpPr>
          <p:cNvPr id="6" name="Dian numeron paikkamerkki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564BC88-0981-1B45-8106-B85C2EFEC6E5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0733747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i-FI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diagramColors" Target="../diagrams/colors1.xml"/><Relationship Id="rId3" Type="http://schemas.openxmlformats.org/officeDocument/2006/relationships/oleObject" Target="../embeddings/oleObject2.bin"/><Relationship Id="rId7" Type="http://schemas.openxmlformats.org/officeDocument/2006/relationships/diagramQuickStyle" Target="../diagrams/quickStyle1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.xml"/><Relationship Id="rId6" Type="http://schemas.openxmlformats.org/officeDocument/2006/relationships/diagramLayout" Target="../diagrams/layout1.xml"/><Relationship Id="rId5" Type="http://schemas.openxmlformats.org/officeDocument/2006/relationships/diagramData" Target="../diagrams/data1.xml"/><Relationship Id="rId10" Type="http://schemas.openxmlformats.org/officeDocument/2006/relationships/image" Target="../media/image2.png"/><Relationship Id="rId4" Type="http://schemas.openxmlformats.org/officeDocument/2006/relationships/image" Target="../media/image1.emf"/><Relationship Id="rId9" Type="http://schemas.microsoft.com/office/2007/relationships/diagramDrawing" Target="../diagrams/drawing1.xml"/></Relationships>
</file>

<file path=ppt/slides/_rels/slide2.xml.rels><?xml version="1.0" encoding="UTF-8" standalone="yes"?>
<Relationships xmlns="http://schemas.openxmlformats.org/package/2006/relationships"><Relationship Id="rId8" Type="http://schemas.microsoft.com/office/2007/relationships/diagramDrawing" Target="../diagrams/drawing2.xml"/><Relationship Id="rId3" Type="http://schemas.openxmlformats.org/officeDocument/2006/relationships/image" Target="../media/image2.png"/><Relationship Id="rId7" Type="http://schemas.openxmlformats.org/officeDocument/2006/relationships/diagramColors" Target="../diagrams/colors2.xml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Relationship Id="rId6" Type="http://schemas.openxmlformats.org/officeDocument/2006/relationships/diagramQuickStyle" Target="../diagrams/quickStyle2.xml"/><Relationship Id="rId5" Type="http://schemas.openxmlformats.org/officeDocument/2006/relationships/diagramLayout" Target="../diagrams/layout2.xml"/><Relationship Id="rId4" Type="http://schemas.openxmlformats.org/officeDocument/2006/relationships/diagramData" Target="../diagrams/data2.xml"/></Relationships>
</file>

<file path=ppt/slides/_rels/slide3.xml.rels><?xml version="1.0" encoding="UTF-8" standalone="yes"?>
<Relationships xmlns="http://schemas.openxmlformats.org/package/2006/relationships"><Relationship Id="rId8" Type="http://schemas.microsoft.com/office/2007/relationships/diagramDrawing" Target="../diagrams/drawing3.xml"/><Relationship Id="rId3" Type="http://schemas.openxmlformats.org/officeDocument/2006/relationships/image" Target="../media/image2.png"/><Relationship Id="rId7" Type="http://schemas.openxmlformats.org/officeDocument/2006/relationships/diagramColors" Target="../diagrams/colors3.xml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Relationship Id="rId6" Type="http://schemas.openxmlformats.org/officeDocument/2006/relationships/diagramQuickStyle" Target="../diagrams/quickStyle3.xml"/><Relationship Id="rId5" Type="http://schemas.openxmlformats.org/officeDocument/2006/relationships/diagramLayout" Target="../diagrams/layout3.xml"/><Relationship Id="rId4" Type="http://schemas.openxmlformats.org/officeDocument/2006/relationships/diagramData" Target="../diagrams/data3.xml"/><Relationship Id="rId9" Type="http://schemas.openxmlformats.org/officeDocument/2006/relationships/image" Target="../media/image5.png"/></Relationships>
</file>

<file path=ppt/slides/_rels/slide4.xml.rels><?xml version="1.0" encoding="UTF-8" standalone="yes"?>
<Relationships xmlns="http://schemas.openxmlformats.org/package/2006/relationships"><Relationship Id="rId8" Type="http://schemas.microsoft.com/office/2007/relationships/diagramDrawing" Target="../diagrams/drawing4.xml"/><Relationship Id="rId3" Type="http://schemas.openxmlformats.org/officeDocument/2006/relationships/image" Target="../media/image2.png"/><Relationship Id="rId7" Type="http://schemas.openxmlformats.org/officeDocument/2006/relationships/diagramColors" Target="../diagrams/colors4.xml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Relationship Id="rId6" Type="http://schemas.openxmlformats.org/officeDocument/2006/relationships/diagramQuickStyle" Target="../diagrams/quickStyle4.xml"/><Relationship Id="rId5" Type="http://schemas.openxmlformats.org/officeDocument/2006/relationships/diagramLayout" Target="../diagrams/layout4.xml"/><Relationship Id="rId4" Type="http://schemas.openxmlformats.org/officeDocument/2006/relationships/diagramData" Target="../diagrams/data4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diagramColors" Target="../diagrams/colors5.xml"/><Relationship Id="rId3" Type="http://schemas.openxmlformats.org/officeDocument/2006/relationships/oleObject" Target="../embeddings/oleObject3.bin"/><Relationship Id="rId7" Type="http://schemas.openxmlformats.org/officeDocument/2006/relationships/diagramQuickStyle" Target="../diagrams/quickStyle5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.xml"/><Relationship Id="rId6" Type="http://schemas.openxmlformats.org/officeDocument/2006/relationships/diagramLayout" Target="../diagrams/layout5.xml"/><Relationship Id="rId5" Type="http://schemas.openxmlformats.org/officeDocument/2006/relationships/diagramData" Target="../diagrams/data5.xml"/><Relationship Id="rId10" Type="http://schemas.openxmlformats.org/officeDocument/2006/relationships/image" Target="../media/image2.png"/><Relationship Id="rId4" Type="http://schemas.openxmlformats.org/officeDocument/2006/relationships/image" Target="../media/image1.emf"/><Relationship Id="rId9" Type="http://schemas.microsoft.com/office/2007/relationships/diagramDrawing" Target="../diagrams/drawing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.xml"/><Relationship Id="rId6" Type="http://schemas.openxmlformats.org/officeDocument/2006/relationships/image" Target="../media/image10.tif"/><Relationship Id="rId5" Type="http://schemas.openxmlformats.org/officeDocument/2006/relationships/image" Target="../media/image9.png"/><Relationship Id="rId4" Type="http://schemas.openxmlformats.org/officeDocument/2006/relationships/image" Target="../media/image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i 5" hidden="1">
            <a:extLst>
              <a:ext uri="{FF2B5EF4-FFF2-40B4-BE49-F238E27FC236}">
                <a16:creationId xmlns:a16="http://schemas.microsoft.com/office/drawing/2014/main" id="{E1BF22A5-5A57-4AF6-B247-2D8B493D9B6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11526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6" name="Objekti 5" hidden="1">
                        <a:extLst>
                          <a:ext uri="{FF2B5EF4-FFF2-40B4-BE49-F238E27FC236}">
                            <a16:creationId xmlns:a16="http://schemas.microsoft.com/office/drawing/2014/main" id="{E1BF22A5-5A57-4AF6-B247-2D8B493D9B6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Otsikko 1"/>
          <p:cNvSpPr>
            <a:spLocks noGrp="1"/>
          </p:cNvSpPr>
          <p:nvPr>
            <p:ph type="title"/>
          </p:nvPr>
        </p:nvSpPr>
        <p:spPr/>
        <p:txBody>
          <a:bodyPr vert="horz">
            <a:normAutofit/>
          </a:bodyPr>
          <a:lstStyle/>
          <a:p>
            <a:pPr algn="ctr"/>
            <a:r>
              <a:rPr lang="fi-FI" sz="3600" dirty="0">
                <a:solidFill>
                  <a:srgbClr val="EC008C"/>
                </a:solidFill>
                <a:latin typeface="Myriad Pro Semibold" charset="0"/>
                <a:ea typeface="Myriad Pro Semibold" charset="0"/>
                <a:cs typeface="Myriad Pro Semibold" charset="0"/>
              </a:rPr>
              <a:t>3</a:t>
            </a:r>
            <a:r>
              <a:rPr lang="fi-FI" sz="3600" dirty="0">
                <a:latin typeface="Myriad Pro Semibold" charset="0"/>
                <a:ea typeface="Myriad Pro Semibold" charset="0"/>
                <a:cs typeface="Myriad Pro Semibold" charset="0"/>
              </a:rPr>
              <a:t> Solut vapauttavat energiaa kemiallisista sidoksista</a:t>
            </a:r>
            <a:endParaRPr lang="fi-FI" sz="3600" dirty="0"/>
          </a:p>
        </p:txBody>
      </p:sp>
      <p:graphicFrame>
        <p:nvGraphicFramePr>
          <p:cNvPr id="8" name="Sisällön paikkamerkki 7">
            <a:extLst>
              <a:ext uri="{FF2B5EF4-FFF2-40B4-BE49-F238E27FC236}">
                <a16:creationId xmlns:a16="http://schemas.microsoft.com/office/drawing/2014/main" id="{311B8604-8FEE-42BB-AF19-CDBE2DDB3F11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225693759"/>
              </p:ext>
            </p:extLst>
          </p:nvPr>
        </p:nvGraphicFramePr>
        <p:xfrm>
          <a:off x="838200" y="2169792"/>
          <a:ext cx="10515600" cy="389705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5" r:lo="rId6" r:qs="rId7" r:cs="rId8"/>
          </a:graphicData>
        </a:graphic>
      </p:graphicFrame>
      <p:pic>
        <p:nvPicPr>
          <p:cNvPr id="4" name="Kuva 3">
            <a:extLst>
              <a:ext uri="{FF2B5EF4-FFF2-40B4-BE49-F238E27FC236}">
                <a16:creationId xmlns:a16="http://schemas.microsoft.com/office/drawing/2014/main" id="{CF47ABF3-D808-437C-99C9-B7CE14174BFD}"/>
              </a:ext>
            </a:extLst>
          </p:cNvPr>
          <p:cNvPicPr>
            <a:picLocks noChangeAspect="1"/>
          </p:cNvPicPr>
          <p:nvPr/>
        </p:nvPicPr>
        <p:blipFill>
          <a:blip r:embed="rId10"/>
          <a:srcRect/>
          <a:stretch/>
        </p:blipFill>
        <p:spPr>
          <a:xfrm>
            <a:off x="11073494" y="6261944"/>
            <a:ext cx="1115457" cy="5154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192269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59" name="Rectangle 58">
            <a:extLst>
              <a:ext uri="{FF2B5EF4-FFF2-40B4-BE49-F238E27FC236}">
                <a16:creationId xmlns:a16="http://schemas.microsoft.com/office/drawing/2014/main" id="{131BAD53-4E89-4F62-BBB7-26359763ED3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1" name="Freeform: Shape 60">
            <a:extLst>
              <a:ext uri="{FF2B5EF4-FFF2-40B4-BE49-F238E27FC236}">
                <a16:creationId xmlns:a16="http://schemas.microsoft.com/office/drawing/2014/main" id="{62756DA2-40EB-4C6F-B962-5822FFB54FB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5653438" cy="6858000"/>
          </a:xfrm>
          <a:custGeom>
            <a:avLst/>
            <a:gdLst>
              <a:gd name="connsiteX0" fmla="*/ 0 w 6096000"/>
              <a:gd name="connsiteY0" fmla="*/ 0 h 6858000"/>
              <a:gd name="connsiteX1" fmla="*/ 5567517 w 6096000"/>
              <a:gd name="connsiteY1" fmla="*/ 0 h 6858000"/>
              <a:gd name="connsiteX2" fmla="*/ 5566938 w 6096000"/>
              <a:gd name="connsiteY2" fmla="*/ 1705 h 6858000"/>
              <a:gd name="connsiteX3" fmla="*/ 5551594 w 6096000"/>
              <a:gd name="connsiteY3" fmla="*/ 17287 h 6858000"/>
              <a:gd name="connsiteX4" fmla="*/ 5545641 w 6096000"/>
              <a:gd name="connsiteY4" fmla="*/ 130336 h 6858000"/>
              <a:gd name="connsiteX5" fmla="*/ 5538289 w 6096000"/>
              <a:gd name="connsiteY5" fmla="*/ 187093 h 6858000"/>
              <a:gd name="connsiteX6" fmla="*/ 5545790 w 6096000"/>
              <a:gd name="connsiteY6" fmla="*/ 265704 h 6858000"/>
              <a:gd name="connsiteX7" fmla="*/ 5542313 w 6096000"/>
              <a:gd name="connsiteY7" fmla="*/ 354566 h 6858000"/>
              <a:gd name="connsiteX8" fmla="*/ 5524126 w 6096000"/>
              <a:gd name="connsiteY8" fmla="*/ 472000 h 6858000"/>
              <a:gd name="connsiteX9" fmla="*/ 5522170 w 6096000"/>
              <a:gd name="connsiteY9" fmla="*/ 473782 h 6858000"/>
              <a:gd name="connsiteX10" fmla="*/ 5521798 w 6096000"/>
              <a:gd name="connsiteY10" fmla="*/ 491380 h 6858000"/>
              <a:gd name="connsiteX11" fmla="*/ 5536419 w 6096000"/>
              <a:gd name="connsiteY11" fmla="*/ 531675 h 6858000"/>
              <a:gd name="connsiteX12" fmla="*/ 5533435 w 6096000"/>
              <a:gd name="connsiteY12" fmla="*/ 536015 h 6858000"/>
              <a:gd name="connsiteX13" fmla="*/ 5538088 w 6096000"/>
              <a:gd name="connsiteY13" fmla="*/ 572092 h 6858000"/>
              <a:gd name="connsiteX14" fmla="*/ 5536061 w 6096000"/>
              <a:gd name="connsiteY14" fmla="*/ 572511 h 6858000"/>
              <a:gd name="connsiteX15" fmla="*/ 5528218 w 6096000"/>
              <a:gd name="connsiteY15" fmla="*/ 582332 h 6858000"/>
              <a:gd name="connsiteX16" fmla="*/ 5518011 w 6096000"/>
              <a:gd name="connsiteY16" fmla="*/ 601285 h 6858000"/>
              <a:gd name="connsiteX17" fmla="*/ 5473174 w 6096000"/>
              <a:gd name="connsiteY17" fmla="*/ 681608 h 6858000"/>
              <a:gd name="connsiteX18" fmla="*/ 5472963 w 6096000"/>
              <a:gd name="connsiteY18" fmla="*/ 689151 h 6858000"/>
              <a:gd name="connsiteX19" fmla="*/ 5472485 w 6096000"/>
              <a:gd name="connsiteY19" fmla="*/ 689289 h 6858000"/>
              <a:gd name="connsiteX20" fmla="*/ 5471326 w 6096000"/>
              <a:gd name="connsiteY20" fmla="*/ 697222 h 6858000"/>
              <a:gd name="connsiteX21" fmla="*/ 5472164 w 6096000"/>
              <a:gd name="connsiteY21" fmla="*/ 717531 h 6858000"/>
              <a:gd name="connsiteX22" fmla="*/ 5468891 w 6096000"/>
              <a:gd name="connsiteY22" fmla="*/ 722494 h 6858000"/>
              <a:gd name="connsiteX23" fmla="*/ 5463081 w 6096000"/>
              <a:gd name="connsiteY23" fmla="*/ 724368 h 6858000"/>
              <a:gd name="connsiteX24" fmla="*/ 5446981 w 6096000"/>
              <a:gd name="connsiteY24" fmla="*/ 752692 h 6858000"/>
              <a:gd name="connsiteX25" fmla="*/ 5417190 w 6096000"/>
              <a:gd name="connsiteY25" fmla="*/ 816346 h 6858000"/>
              <a:gd name="connsiteX26" fmla="*/ 5388958 w 6096000"/>
              <a:gd name="connsiteY26" fmla="*/ 889417 h 6858000"/>
              <a:gd name="connsiteX27" fmla="*/ 5307044 w 6096000"/>
              <a:gd name="connsiteY27" fmla="*/ 1063288 h 6858000"/>
              <a:gd name="connsiteX28" fmla="*/ 5303837 w 6096000"/>
              <a:gd name="connsiteY28" fmla="*/ 1157176 h 6858000"/>
              <a:gd name="connsiteX29" fmla="*/ 5286494 w 6096000"/>
              <a:gd name="connsiteY29" fmla="*/ 1210776 h 6858000"/>
              <a:gd name="connsiteX30" fmla="*/ 5282463 w 6096000"/>
              <a:gd name="connsiteY30" fmla="*/ 1301993 h 6858000"/>
              <a:gd name="connsiteX31" fmla="*/ 5252235 w 6096000"/>
              <a:gd name="connsiteY31" fmla="*/ 1360879 h 6858000"/>
              <a:gd name="connsiteX32" fmla="*/ 5244497 w 6096000"/>
              <a:gd name="connsiteY32" fmla="*/ 1404045 h 6858000"/>
              <a:gd name="connsiteX33" fmla="*/ 5223823 w 6096000"/>
              <a:gd name="connsiteY33" fmla="*/ 1429568 h 6858000"/>
              <a:gd name="connsiteX34" fmla="*/ 5224851 w 6096000"/>
              <a:gd name="connsiteY34" fmla="*/ 1430305 h 6858000"/>
              <a:gd name="connsiteX35" fmla="*/ 5212394 w 6096000"/>
              <a:gd name="connsiteY35" fmla="*/ 1463304 h 6858000"/>
              <a:gd name="connsiteX36" fmla="*/ 5209958 w 6096000"/>
              <a:gd name="connsiteY36" fmla="*/ 1514846 h 6858000"/>
              <a:gd name="connsiteX37" fmla="*/ 5206417 w 6096000"/>
              <a:gd name="connsiteY37" fmla="*/ 1519731 h 6858000"/>
              <a:gd name="connsiteX38" fmla="*/ 5206640 w 6096000"/>
              <a:gd name="connsiteY38" fmla="*/ 1519929 h 6858000"/>
              <a:gd name="connsiteX39" fmla="*/ 5207632 w 6096000"/>
              <a:gd name="connsiteY39" fmla="*/ 1546022 h 6858000"/>
              <a:gd name="connsiteX40" fmla="*/ 5212030 w 6096000"/>
              <a:gd name="connsiteY40" fmla="*/ 1578752 h 6858000"/>
              <a:gd name="connsiteX41" fmla="*/ 5203533 w 6096000"/>
              <a:gd name="connsiteY41" fmla="*/ 1647555 h 6858000"/>
              <a:gd name="connsiteX42" fmla="*/ 5190877 w 6096000"/>
              <a:gd name="connsiteY42" fmla="*/ 1715685 h 6858000"/>
              <a:gd name="connsiteX43" fmla="*/ 5184235 w 6096000"/>
              <a:gd name="connsiteY43" fmla="*/ 1740358 h 6858000"/>
              <a:gd name="connsiteX44" fmla="*/ 5181475 w 6096000"/>
              <a:gd name="connsiteY44" fmla="*/ 1784314 h 6858000"/>
              <a:gd name="connsiteX45" fmla="*/ 5185845 w 6096000"/>
              <a:gd name="connsiteY45" fmla="*/ 1804434 h 6858000"/>
              <a:gd name="connsiteX46" fmla="*/ 5185068 w 6096000"/>
              <a:gd name="connsiteY46" fmla="*/ 1805316 h 6858000"/>
              <a:gd name="connsiteX47" fmla="*/ 5188593 w 6096000"/>
              <a:gd name="connsiteY47" fmla="*/ 1807109 h 6858000"/>
              <a:gd name="connsiteX48" fmla="*/ 5185920 w 6096000"/>
              <a:gd name="connsiteY48" fmla="*/ 1821003 h 6858000"/>
              <a:gd name="connsiteX49" fmla="*/ 5183543 w 6096000"/>
              <a:gd name="connsiteY49" fmla="*/ 1824832 h 6858000"/>
              <a:gd name="connsiteX50" fmla="*/ 5182235 w 6096000"/>
              <a:gd name="connsiteY50" fmla="*/ 1830429 h 6858000"/>
              <a:gd name="connsiteX51" fmla="*/ 5182525 w 6096000"/>
              <a:gd name="connsiteY51" fmla="*/ 1830569 h 6858000"/>
              <a:gd name="connsiteX52" fmla="*/ 5180663 w 6096000"/>
              <a:gd name="connsiteY52" fmla="*/ 1835810 h 6858000"/>
              <a:gd name="connsiteX53" fmla="*/ 5167452 w 6096000"/>
              <a:gd name="connsiteY53" fmla="*/ 1861483 h 6858000"/>
              <a:gd name="connsiteX54" fmla="*/ 5174266 w 6096000"/>
              <a:gd name="connsiteY54" fmla="*/ 1892417 h 6858000"/>
              <a:gd name="connsiteX55" fmla="*/ 5189262 w 6096000"/>
              <a:gd name="connsiteY55" fmla="*/ 1895114 h 6858000"/>
              <a:gd name="connsiteX56" fmla="*/ 5187100 w 6096000"/>
              <a:gd name="connsiteY56" fmla="*/ 1899379 h 6858000"/>
              <a:gd name="connsiteX57" fmla="*/ 5180471 w 6096000"/>
              <a:gd name="connsiteY57" fmla="*/ 1907867 h 6858000"/>
              <a:gd name="connsiteX58" fmla="*/ 5181361 w 6096000"/>
              <a:gd name="connsiteY58" fmla="*/ 1910265 h 6858000"/>
              <a:gd name="connsiteX59" fmla="*/ 5178268 w 6096000"/>
              <a:gd name="connsiteY59" fmla="*/ 1935584 h 6858000"/>
              <a:gd name="connsiteX60" fmla="*/ 5183619 w 6096000"/>
              <a:gd name="connsiteY60" fmla="*/ 1942021 h 6858000"/>
              <a:gd name="connsiteX61" fmla="*/ 5184480 w 6096000"/>
              <a:gd name="connsiteY61" fmla="*/ 1945112 h 6858000"/>
              <a:gd name="connsiteX62" fmla="*/ 5172776 w 6096000"/>
              <a:gd name="connsiteY62" fmla="*/ 1961162 h 6858000"/>
              <a:gd name="connsiteX63" fmla="*/ 5168513 w 6096000"/>
              <a:gd name="connsiteY63" fmla="*/ 1969445 h 6858000"/>
              <a:gd name="connsiteX64" fmla="*/ 5126597 w 6096000"/>
              <a:gd name="connsiteY64" fmla="*/ 2024270 h 6858000"/>
              <a:gd name="connsiteX65" fmla="*/ 5119528 w 6096000"/>
              <a:gd name="connsiteY65" fmla="*/ 2107942 h 6858000"/>
              <a:gd name="connsiteX66" fmla="*/ 5110356 w 6096000"/>
              <a:gd name="connsiteY66" fmla="*/ 2193455 h 6858000"/>
              <a:gd name="connsiteX67" fmla="*/ 5104992 w 6096000"/>
              <a:gd name="connsiteY67" fmla="*/ 2260088 h 6858000"/>
              <a:gd name="connsiteX68" fmla="*/ 5059439 w 6096000"/>
              <a:gd name="connsiteY68" fmla="*/ 2335735 h 6858000"/>
              <a:gd name="connsiteX69" fmla="*/ 5022061 w 6096000"/>
              <a:gd name="connsiteY69" fmla="*/ 2408995 h 6858000"/>
              <a:gd name="connsiteX70" fmla="*/ 5022253 w 6096000"/>
              <a:gd name="connsiteY70" fmla="*/ 2445869 h 6858000"/>
              <a:gd name="connsiteX71" fmla="*/ 5011426 w 6096000"/>
              <a:gd name="connsiteY71" fmla="*/ 2496499 h 6858000"/>
              <a:gd name="connsiteX72" fmla="*/ 4994224 w 6096000"/>
              <a:gd name="connsiteY72" fmla="*/ 2549900 h 6858000"/>
              <a:gd name="connsiteX73" fmla="*/ 4995245 w 6096000"/>
              <a:gd name="connsiteY73" fmla="*/ 2596456 h 6858000"/>
              <a:gd name="connsiteX74" fmla="*/ 4988570 w 6096000"/>
              <a:gd name="connsiteY74" fmla="*/ 2606088 h 6858000"/>
              <a:gd name="connsiteX75" fmla="*/ 4988371 w 6096000"/>
              <a:gd name="connsiteY75" fmla="*/ 2635351 h 6858000"/>
              <a:gd name="connsiteX76" fmla="*/ 4983212 w 6096000"/>
              <a:gd name="connsiteY76" fmla="*/ 2665666 h 6858000"/>
              <a:gd name="connsiteX77" fmla="*/ 4968234 w 6096000"/>
              <a:gd name="connsiteY77" fmla="*/ 2715895 h 6858000"/>
              <a:gd name="connsiteX78" fmla="*/ 4975888 w 6096000"/>
              <a:gd name="connsiteY78" fmla="*/ 2725052 h 6858000"/>
              <a:gd name="connsiteX79" fmla="*/ 4980195 w 6096000"/>
              <a:gd name="connsiteY79" fmla="*/ 2726489 h 6858000"/>
              <a:gd name="connsiteX80" fmla="*/ 4976218 w 6096000"/>
              <a:gd name="connsiteY80" fmla="*/ 2740278 h 6858000"/>
              <a:gd name="connsiteX81" fmla="*/ 4980571 w 6096000"/>
              <a:gd name="connsiteY81" fmla="*/ 2751112 h 6858000"/>
              <a:gd name="connsiteX82" fmla="*/ 4973893 w 6096000"/>
              <a:gd name="connsiteY82" fmla="*/ 2760208 h 6858000"/>
              <a:gd name="connsiteX83" fmla="*/ 4979005 w 6096000"/>
              <a:gd name="connsiteY83" fmla="*/ 2790136 h 6858000"/>
              <a:gd name="connsiteX84" fmla="*/ 4986137 w 6096000"/>
              <a:gd name="connsiteY84" fmla="*/ 2804183 h 6858000"/>
              <a:gd name="connsiteX85" fmla="*/ 4986175 w 6096000"/>
              <a:gd name="connsiteY85" fmla="*/ 2825860 h 6858000"/>
              <a:gd name="connsiteX86" fmla="*/ 4993936 w 6096000"/>
              <a:gd name="connsiteY86" fmla="*/ 2911749 h 6858000"/>
              <a:gd name="connsiteX87" fmla="*/ 4992563 w 6096000"/>
              <a:gd name="connsiteY87" fmla="*/ 2977278 h 6858000"/>
              <a:gd name="connsiteX88" fmla="*/ 4980516 w 6096000"/>
              <a:gd name="connsiteY88" fmla="*/ 2991092 h 6858000"/>
              <a:gd name="connsiteX89" fmla="*/ 4992801 w 6096000"/>
              <a:gd name="connsiteY89" fmla="*/ 3020247 h 6858000"/>
              <a:gd name="connsiteX90" fmla="*/ 5014805 w 6096000"/>
              <a:gd name="connsiteY90" fmla="*/ 3065434 h 6858000"/>
              <a:gd name="connsiteX91" fmla="*/ 5002733 w 6096000"/>
              <a:gd name="connsiteY91" fmla="*/ 3103777 h 6858000"/>
              <a:gd name="connsiteX92" fmla="*/ 5002941 w 6096000"/>
              <a:gd name="connsiteY92" fmla="*/ 3151828 h 6858000"/>
              <a:gd name="connsiteX93" fmla="*/ 5002883 w 6096000"/>
              <a:gd name="connsiteY93" fmla="*/ 3180546 h 6858000"/>
              <a:gd name="connsiteX94" fmla="*/ 5016711 w 6096000"/>
              <a:gd name="connsiteY94" fmla="*/ 3258677 h 6858000"/>
              <a:gd name="connsiteX95" fmla="*/ 5017918 w 6096000"/>
              <a:gd name="connsiteY95" fmla="*/ 3262610 h 6858000"/>
              <a:gd name="connsiteX96" fmla="*/ 5011672 w 6096000"/>
              <a:gd name="connsiteY96" fmla="*/ 3277179 h 6858000"/>
              <a:gd name="connsiteX97" fmla="*/ 5009344 w 6096000"/>
              <a:gd name="connsiteY97" fmla="*/ 3278130 h 6858000"/>
              <a:gd name="connsiteX98" fmla="*/ 5026770 w 6096000"/>
              <a:gd name="connsiteY98" fmla="*/ 3325671 h 6858000"/>
              <a:gd name="connsiteX99" fmla="*/ 5024571 w 6096000"/>
              <a:gd name="connsiteY99" fmla="*/ 3332072 h 6858000"/>
              <a:gd name="connsiteX100" fmla="*/ 5041705 w 6096000"/>
              <a:gd name="connsiteY100" fmla="*/ 3362948 h 6858000"/>
              <a:gd name="connsiteX101" fmla="*/ 5047477 w 6096000"/>
              <a:gd name="connsiteY101" fmla="*/ 3378959 h 6858000"/>
              <a:gd name="connsiteX102" fmla="*/ 5060758 w 6096000"/>
              <a:gd name="connsiteY102" fmla="*/ 3407057 h 6858000"/>
              <a:gd name="connsiteX103" fmla="*/ 5058968 w 6096000"/>
              <a:gd name="connsiteY103" fmla="*/ 3409825 h 6858000"/>
              <a:gd name="connsiteX104" fmla="*/ 5062667 w 6096000"/>
              <a:gd name="connsiteY104" fmla="*/ 3415218 h 6858000"/>
              <a:gd name="connsiteX105" fmla="*/ 5060928 w 6096000"/>
              <a:gd name="connsiteY105" fmla="*/ 3419880 h 6858000"/>
              <a:gd name="connsiteX106" fmla="*/ 5062923 w 6096000"/>
              <a:gd name="connsiteY106" fmla="*/ 3424545 h 6858000"/>
              <a:gd name="connsiteX107" fmla="*/ 5064623 w 6096000"/>
              <a:gd name="connsiteY107" fmla="*/ 3476412 h 6858000"/>
              <a:gd name="connsiteX108" fmla="*/ 5069684 w 6096000"/>
              <a:gd name="connsiteY108" fmla="*/ 3486850 h 6858000"/>
              <a:gd name="connsiteX109" fmla="*/ 5063339 w 6096000"/>
              <a:gd name="connsiteY109" fmla="*/ 3496391 h 6858000"/>
              <a:gd name="connsiteX110" fmla="*/ 5070139 w 6096000"/>
              <a:gd name="connsiteY110" fmla="*/ 3531201 h 6858000"/>
              <a:gd name="connsiteX111" fmla="*/ 5079896 w 6096000"/>
              <a:gd name="connsiteY111" fmla="*/ 3542019 h 6858000"/>
              <a:gd name="connsiteX112" fmla="*/ 5087540 w 6096000"/>
              <a:gd name="connsiteY112" fmla="*/ 3552249 h 6858000"/>
              <a:gd name="connsiteX113" fmla="*/ 5087902 w 6096000"/>
              <a:gd name="connsiteY113" fmla="*/ 3553678 h 6858000"/>
              <a:gd name="connsiteX114" fmla="*/ 5091509 w 6096000"/>
              <a:gd name="connsiteY114" fmla="*/ 3568021 h 6858000"/>
              <a:gd name="connsiteX115" fmla="*/ 5091934 w 6096000"/>
              <a:gd name="connsiteY115" fmla="*/ 3569719 h 6858000"/>
              <a:gd name="connsiteX116" fmla="*/ 5089362 w 6096000"/>
              <a:gd name="connsiteY116" fmla="*/ 3586412 h 6858000"/>
              <a:gd name="connsiteX117" fmla="*/ 5092358 w 6096000"/>
              <a:gd name="connsiteY117" fmla="*/ 3597336 h 6858000"/>
              <a:gd name="connsiteX118" fmla="*/ 5084254 w 6096000"/>
              <a:gd name="connsiteY118" fmla="*/ 3606007 h 6858000"/>
              <a:gd name="connsiteX119" fmla="*/ 5084281 w 6096000"/>
              <a:gd name="connsiteY119" fmla="*/ 3641228 h 6858000"/>
              <a:gd name="connsiteX120" fmla="*/ 5091848 w 6096000"/>
              <a:gd name="connsiteY120" fmla="*/ 3653088 h 6858000"/>
              <a:gd name="connsiteX121" fmla="*/ 5097436 w 6096000"/>
              <a:gd name="connsiteY121" fmla="*/ 3664114 h 6858000"/>
              <a:gd name="connsiteX122" fmla="*/ 5097518 w 6096000"/>
              <a:gd name="connsiteY122" fmla="*/ 3665569 h 6858000"/>
              <a:gd name="connsiteX123" fmla="*/ 5099829 w 6096000"/>
              <a:gd name="connsiteY123" fmla="*/ 3707357 h 6858000"/>
              <a:gd name="connsiteX124" fmla="*/ 5114696 w 6096000"/>
              <a:gd name="connsiteY124" fmla="*/ 3778166 h 6858000"/>
              <a:gd name="connsiteX125" fmla="*/ 5135379 w 6096000"/>
              <a:gd name="connsiteY125" fmla="*/ 3878222 h 6858000"/>
              <a:gd name="connsiteX126" fmla="*/ 5130138 w 6096000"/>
              <a:gd name="connsiteY126" fmla="*/ 4048117 h 6858000"/>
              <a:gd name="connsiteX127" fmla="*/ 5090040 w 6096000"/>
              <a:gd name="connsiteY127" fmla="*/ 4219510 h 6858000"/>
              <a:gd name="connsiteX128" fmla="*/ 5092812 w 6096000"/>
              <a:gd name="connsiteY128" fmla="*/ 4411258 h 6858000"/>
              <a:gd name="connsiteX129" fmla="*/ 5084599 w 6096000"/>
              <a:gd name="connsiteY129" fmla="*/ 4488531 h 6858000"/>
              <a:gd name="connsiteX130" fmla="*/ 5084072 w 6096000"/>
              <a:gd name="connsiteY130" fmla="*/ 4539168 h 6858000"/>
              <a:gd name="connsiteX131" fmla="*/ 5068936 w 6096000"/>
              <a:gd name="connsiteY131" fmla="*/ 4625153 h 6858000"/>
              <a:gd name="connsiteX132" fmla="*/ 5059114 w 6096000"/>
              <a:gd name="connsiteY132" fmla="*/ 4733115 h 6858000"/>
              <a:gd name="connsiteX133" fmla="*/ 5037209 w 6096000"/>
              <a:gd name="connsiteY133" fmla="*/ 4844323 h 6858000"/>
              <a:gd name="connsiteX134" fmla="*/ 5020638 w 6096000"/>
              <a:gd name="connsiteY134" fmla="*/ 4877992 h 6858000"/>
              <a:gd name="connsiteX135" fmla="*/ 5006413 w 6096000"/>
              <a:gd name="connsiteY135" fmla="*/ 4925805 h 6858000"/>
              <a:gd name="connsiteX136" fmla="*/ 4971037 w 6096000"/>
              <a:gd name="connsiteY136" fmla="*/ 5009272 h 6858000"/>
              <a:gd name="connsiteX137" fmla="*/ 4963105 w 6096000"/>
              <a:gd name="connsiteY137" fmla="*/ 5111369 h 6858000"/>
              <a:gd name="connsiteX138" fmla="*/ 4976341 w 6096000"/>
              <a:gd name="connsiteY138" fmla="*/ 5210876 h 6858000"/>
              <a:gd name="connsiteX139" fmla="*/ 4980617 w 6096000"/>
              <a:gd name="connsiteY139" fmla="*/ 5269726 h 6858000"/>
              <a:gd name="connsiteX140" fmla="*/ 4997733 w 6096000"/>
              <a:gd name="connsiteY140" fmla="*/ 5464225 h 6858000"/>
              <a:gd name="connsiteX141" fmla="*/ 5001400 w 6096000"/>
              <a:gd name="connsiteY141" fmla="*/ 5594585 h 6858000"/>
              <a:gd name="connsiteX142" fmla="*/ 4983700 w 6096000"/>
              <a:gd name="connsiteY142" fmla="*/ 5667896 h 6858000"/>
              <a:gd name="connsiteX143" fmla="*/ 4968506 w 6096000"/>
              <a:gd name="connsiteY143" fmla="*/ 5769225 h 6858000"/>
              <a:gd name="connsiteX144" fmla="*/ 4969765 w 6096000"/>
              <a:gd name="connsiteY144" fmla="*/ 5823324 h 6858000"/>
              <a:gd name="connsiteX145" fmla="*/ 4966129 w 6096000"/>
              <a:gd name="connsiteY145" fmla="*/ 5862699 h 6858000"/>
              <a:gd name="connsiteX146" fmla="*/ 4970695 w 6096000"/>
              <a:gd name="connsiteY146" fmla="*/ 5906467 h 6858000"/>
              <a:gd name="connsiteX147" fmla="*/ 4991568 w 6096000"/>
              <a:gd name="connsiteY147" fmla="*/ 5939847 h 6858000"/>
              <a:gd name="connsiteX148" fmla="*/ 4986815 w 6096000"/>
              <a:gd name="connsiteY148" fmla="*/ 5973994 h 6858000"/>
              <a:gd name="connsiteX149" fmla="*/ 4987776 w 6096000"/>
              <a:gd name="connsiteY149" fmla="*/ 6089693 h 6858000"/>
              <a:gd name="connsiteX150" fmla="*/ 4991621 w 6096000"/>
              <a:gd name="connsiteY150" fmla="*/ 6224938 h 6858000"/>
              <a:gd name="connsiteX151" fmla="*/ 5017157 w 6096000"/>
              <a:gd name="connsiteY151" fmla="*/ 6370251 h 6858000"/>
              <a:gd name="connsiteX152" fmla="*/ 5040797 w 6096000"/>
              <a:gd name="connsiteY152" fmla="*/ 6541313 h 6858000"/>
              <a:gd name="connsiteX153" fmla="*/ 5045375 w 6096000"/>
              <a:gd name="connsiteY153" fmla="*/ 6640957 h 6858000"/>
              <a:gd name="connsiteX154" fmla="*/ 5058442 w 6096000"/>
              <a:gd name="connsiteY154" fmla="*/ 6705297 h 6858000"/>
              <a:gd name="connsiteX155" fmla="*/ 5071125 w 6096000"/>
              <a:gd name="connsiteY155" fmla="*/ 6759582 h 6858000"/>
              <a:gd name="connsiteX156" fmla="*/ 5069172 w 6096000"/>
              <a:gd name="connsiteY156" fmla="*/ 6817746 h 6858000"/>
              <a:gd name="connsiteX157" fmla="*/ 5072322 w 6096000"/>
              <a:gd name="connsiteY157" fmla="*/ 6843646 h 6858000"/>
              <a:gd name="connsiteX158" fmla="*/ 5091388 w 6096000"/>
              <a:gd name="connsiteY158" fmla="*/ 6857998 h 6858000"/>
              <a:gd name="connsiteX159" fmla="*/ 6096000 w 6096000"/>
              <a:gd name="connsiteY159" fmla="*/ 6857998 h 6858000"/>
              <a:gd name="connsiteX160" fmla="*/ 6096000 w 6096000"/>
              <a:gd name="connsiteY160" fmla="*/ 6858000 h 6858000"/>
              <a:gd name="connsiteX161" fmla="*/ 0 w 6096000"/>
              <a:gd name="connsiteY161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</a:cxnLst>
            <a:rect l="l" t="t" r="r" b="b"/>
            <a:pathLst>
              <a:path w="6096000" h="6858000">
                <a:moveTo>
                  <a:pt x="0" y="0"/>
                </a:moveTo>
                <a:lnTo>
                  <a:pt x="5567517" y="0"/>
                </a:lnTo>
                <a:lnTo>
                  <a:pt x="5566938" y="1705"/>
                </a:lnTo>
                <a:cubicBezTo>
                  <a:pt x="5563126" y="8440"/>
                  <a:pt x="5558112" y="13784"/>
                  <a:pt x="5551594" y="17287"/>
                </a:cubicBezTo>
                <a:cubicBezTo>
                  <a:pt x="5562364" y="82036"/>
                  <a:pt x="5510349" y="69804"/>
                  <a:pt x="5545641" y="130336"/>
                </a:cubicBezTo>
                <a:cubicBezTo>
                  <a:pt x="5526953" y="117589"/>
                  <a:pt x="5536978" y="162458"/>
                  <a:pt x="5538289" y="187093"/>
                </a:cubicBezTo>
                <a:cubicBezTo>
                  <a:pt x="5536205" y="226511"/>
                  <a:pt x="5545722" y="205530"/>
                  <a:pt x="5545790" y="265704"/>
                </a:cubicBezTo>
                <a:cubicBezTo>
                  <a:pt x="5542296" y="317533"/>
                  <a:pt x="5543813" y="325288"/>
                  <a:pt x="5542313" y="354566"/>
                </a:cubicBezTo>
                <a:lnTo>
                  <a:pt x="5524126" y="472000"/>
                </a:lnTo>
                <a:lnTo>
                  <a:pt x="5522170" y="473782"/>
                </a:lnTo>
                <a:cubicBezTo>
                  <a:pt x="5517847" y="482008"/>
                  <a:pt x="5518682" y="487340"/>
                  <a:pt x="5521798" y="491380"/>
                </a:cubicBezTo>
                <a:lnTo>
                  <a:pt x="5536419" y="531675"/>
                </a:lnTo>
                <a:lnTo>
                  <a:pt x="5533435" y="536015"/>
                </a:lnTo>
                <a:lnTo>
                  <a:pt x="5538088" y="572092"/>
                </a:lnTo>
                <a:lnTo>
                  <a:pt x="5536061" y="572511"/>
                </a:lnTo>
                <a:cubicBezTo>
                  <a:pt x="5531611" y="574271"/>
                  <a:pt x="5528529" y="577121"/>
                  <a:pt x="5528218" y="582332"/>
                </a:cubicBezTo>
                <a:cubicBezTo>
                  <a:pt x="5498002" y="573171"/>
                  <a:pt x="5516262" y="585107"/>
                  <a:pt x="5518011" y="601285"/>
                </a:cubicBezTo>
                <a:cubicBezTo>
                  <a:pt x="5508838" y="617831"/>
                  <a:pt x="5480684" y="666964"/>
                  <a:pt x="5473174" y="681608"/>
                </a:cubicBezTo>
                <a:cubicBezTo>
                  <a:pt x="5473102" y="684122"/>
                  <a:pt x="5473033" y="686637"/>
                  <a:pt x="5472963" y="689151"/>
                </a:cubicBezTo>
                <a:lnTo>
                  <a:pt x="5472485" y="689289"/>
                </a:lnTo>
                <a:cubicBezTo>
                  <a:pt x="5471434" y="690905"/>
                  <a:pt x="5470986" y="693376"/>
                  <a:pt x="5471326" y="697222"/>
                </a:cubicBezTo>
                <a:cubicBezTo>
                  <a:pt x="5471606" y="703992"/>
                  <a:pt x="5471884" y="710761"/>
                  <a:pt x="5472164" y="717531"/>
                </a:cubicBezTo>
                <a:lnTo>
                  <a:pt x="5468891" y="722494"/>
                </a:lnTo>
                <a:lnTo>
                  <a:pt x="5463081" y="724368"/>
                </a:lnTo>
                <a:lnTo>
                  <a:pt x="5446981" y="752692"/>
                </a:lnTo>
                <a:cubicBezTo>
                  <a:pt x="5454691" y="764380"/>
                  <a:pt x="5422719" y="808083"/>
                  <a:pt x="5417190" y="816346"/>
                </a:cubicBezTo>
                <a:lnTo>
                  <a:pt x="5388958" y="889417"/>
                </a:lnTo>
                <a:cubicBezTo>
                  <a:pt x="5320491" y="969963"/>
                  <a:pt x="5321907" y="1005331"/>
                  <a:pt x="5307044" y="1063288"/>
                </a:cubicBezTo>
                <a:cubicBezTo>
                  <a:pt x="5313332" y="1111028"/>
                  <a:pt x="5317096" y="1110140"/>
                  <a:pt x="5303837" y="1157176"/>
                </a:cubicBezTo>
                <a:cubicBezTo>
                  <a:pt x="5301103" y="1192124"/>
                  <a:pt x="5301884" y="1197232"/>
                  <a:pt x="5286494" y="1210776"/>
                </a:cubicBezTo>
                <a:lnTo>
                  <a:pt x="5282463" y="1301993"/>
                </a:lnTo>
                <a:lnTo>
                  <a:pt x="5252235" y="1360879"/>
                </a:lnTo>
                <a:lnTo>
                  <a:pt x="5244497" y="1404045"/>
                </a:lnTo>
                <a:lnTo>
                  <a:pt x="5223823" y="1429568"/>
                </a:lnTo>
                <a:lnTo>
                  <a:pt x="5224851" y="1430305"/>
                </a:lnTo>
                <a:cubicBezTo>
                  <a:pt x="5226697" y="1432466"/>
                  <a:pt x="5214738" y="1459891"/>
                  <a:pt x="5212394" y="1463304"/>
                </a:cubicBezTo>
                <a:cubicBezTo>
                  <a:pt x="5209912" y="1477394"/>
                  <a:pt x="5213027" y="1501295"/>
                  <a:pt x="5209958" y="1514846"/>
                </a:cubicBezTo>
                <a:lnTo>
                  <a:pt x="5206417" y="1519731"/>
                </a:lnTo>
                <a:lnTo>
                  <a:pt x="5206640" y="1519929"/>
                </a:lnTo>
                <a:cubicBezTo>
                  <a:pt x="5206490" y="1521210"/>
                  <a:pt x="5209710" y="1543635"/>
                  <a:pt x="5207632" y="1546022"/>
                </a:cubicBezTo>
                <a:lnTo>
                  <a:pt x="5212030" y="1578752"/>
                </a:lnTo>
                <a:cubicBezTo>
                  <a:pt x="5206147" y="1605585"/>
                  <a:pt x="5226381" y="1622803"/>
                  <a:pt x="5203533" y="1647555"/>
                </a:cubicBezTo>
                <a:cubicBezTo>
                  <a:pt x="5198128" y="1672675"/>
                  <a:pt x="5203213" y="1694404"/>
                  <a:pt x="5190877" y="1715685"/>
                </a:cubicBezTo>
                <a:cubicBezTo>
                  <a:pt x="5196815" y="1724301"/>
                  <a:pt x="5198098" y="1732435"/>
                  <a:pt x="5184235" y="1740358"/>
                </a:cubicBezTo>
                <a:cubicBezTo>
                  <a:pt x="5182625" y="1763793"/>
                  <a:pt x="5198368" y="1769422"/>
                  <a:pt x="5181475" y="1784314"/>
                </a:cubicBezTo>
                <a:cubicBezTo>
                  <a:pt x="5205987" y="1797417"/>
                  <a:pt x="5195246" y="1798221"/>
                  <a:pt x="5185845" y="1804434"/>
                </a:cubicBezTo>
                <a:lnTo>
                  <a:pt x="5185068" y="1805316"/>
                </a:lnTo>
                <a:lnTo>
                  <a:pt x="5188593" y="1807109"/>
                </a:lnTo>
                <a:lnTo>
                  <a:pt x="5185920" y="1821003"/>
                </a:lnTo>
                <a:lnTo>
                  <a:pt x="5183543" y="1824832"/>
                </a:lnTo>
                <a:cubicBezTo>
                  <a:pt x="5182284" y="1827468"/>
                  <a:pt x="5181937" y="1829219"/>
                  <a:pt x="5182235" y="1830429"/>
                </a:cubicBezTo>
                <a:lnTo>
                  <a:pt x="5182525" y="1830569"/>
                </a:lnTo>
                <a:lnTo>
                  <a:pt x="5180663" y="1835810"/>
                </a:lnTo>
                <a:cubicBezTo>
                  <a:pt x="5176779" y="1844665"/>
                  <a:pt x="5172297" y="1853278"/>
                  <a:pt x="5167452" y="1861483"/>
                </a:cubicBezTo>
                <a:cubicBezTo>
                  <a:pt x="5179827" y="1866643"/>
                  <a:pt x="5166788" y="1884999"/>
                  <a:pt x="5174266" y="1892417"/>
                </a:cubicBezTo>
                <a:lnTo>
                  <a:pt x="5189262" y="1895114"/>
                </a:lnTo>
                <a:lnTo>
                  <a:pt x="5187100" y="1899379"/>
                </a:lnTo>
                <a:lnTo>
                  <a:pt x="5180471" y="1907867"/>
                </a:lnTo>
                <a:cubicBezTo>
                  <a:pt x="5179609" y="1909162"/>
                  <a:pt x="5179647" y="1909994"/>
                  <a:pt x="5181361" y="1910265"/>
                </a:cubicBezTo>
                <a:cubicBezTo>
                  <a:pt x="5180995" y="1914884"/>
                  <a:pt x="5177893" y="1930292"/>
                  <a:pt x="5178268" y="1935584"/>
                </a:cubicBezTo>
                <a:lnTo>
                  <a:pt x="5183619" y="1942021"/>
                </a:lnTo>
                <a:lnTo>
                  <a:pt x="5184480" y="1945112"/>
                </a:lnTo>
                <a:lnTo>
                  <a:pt x="5172776" y="1961162"/>
                </a:lnTo>
                <a:lnTo>
                  <a:pt x="5168513" y="1969445"/>
                </a:lnTo>
                <a:lnTo>
                  <a:pt x="5126597" y="2024270"/>
                </a:lnTo>
                <a:lnTo>
                  <a:pt x="5119528" y="2107942"/>
                </a:lnTo>
                <a:cubicBezTo>
                  <a:pt x="5089290" y="2138038"/>
                  <a:pt x="5110415" y="2159228"/>
                  <a:pt x="5110356" y="2193455"/>
                </a:cubicBezTo>
                <a:cubicBezTo>
                  <a:pt x="5101302" y="2220953"/>
                  <a:pt x="5110381" y="2224200"/>
                  <a:pt x="5104992" y="2260088"/>
                </a:cubicBezTo>
                <a:cubicBezTo>
                  <a:pt x="5096504" y="2291744"/>
                  <a:pt x="5078225" y="2299003"/>
                  <a:pt x="5059439" y="2335735"/>
                </a:cubicBezTo>
                <a:cubicBezTo>
                  <a:pt x="5029465" y="2329020"/>
                  <a:pt x="5058046" y="2407546"/>
                  <a:pt x="5022061" y="2408995"/>
                </a:cubicBezTo>
                <a:cubicBezTo>
                  <a:pt x="5023289" y="2413465"/>
                  <a:pt x="5019654" y="2441580"/>
                  <a:pt x="5022253" y="2445869"/>
                </a:cubicBezTo>
                <a:cubicBezTo>
                  <a:pt x="5022440" y="2449625"/>
                  <a:pt x="5011241" y="2492743"/>
                  <a:pt x="5011426" y="2496499"/>
                </a:cubicBezTo>
                <a:lnTo>
                  <a:pt x="4994224" y="2549900"/>
                </a:lnTo>
                <a:cubicBezTo>
                  <a:pt x="4992353" y="2564757"/>
                  <a:pt x="4998952" y="2582253"/>
                  <a:pt x="4995245" y="2596456"/>
                </a:cubicBezTo>
                <a:lnTo>
                  <a:pt x="4988570" y="2606088"/>
                </a:lnTo>
                <a:cubicBezTo>
                  <a:pt x="4988504" y="2615842"/>
                  <a:pt x="4988436" y="2625597"/>
                  <a:pt x="4988371" y="2635351"/>
                </a:cubicBezTo>
                <a:lnTo>
                  <a:pt x="4983212" y="2665666"/>
                </a:lnTo>
                <a:lnTo>
                  <a:pt x="4968234" y="2715895"/>
                </a:lnTo>
                <a:lnTo>
                  <a:pt x="4975888" y="2725052"/>
                </a:lnTo>
                <a:lnTo>
                  <a:pt x="4980195" y="2726489"/>
                </a:lnTo>
                <a:lnTo>
                  <a:pt x="4976218" y="2740278"/>
                </a:lnTo>
                <a:lnTo>
                  <a:pt x="4980571" y="2751112"/>
                </a:lnTo>
                <a:lnTo>
                  <a:pt x="4973893" y="2760208"/>
                </a:lnTo>
                <a:lnTo>
                  <a:pt x="4979005" y="2790136"/>
                </a:lnTo>
                <a:lnTo>
                  <a:pt x="4986137" y="2804183"/>
                </a:lnTo>
                <a:cubicBezTo>
                  <a:pt x="4986150" y="2811409"/>
                  <a:pt x="4986162" y="2818634"/>
                  <a:pt x="4986175" y="2825860"/>
                </a:cubicBezTo>
                <a:cubicBezTo>
                  <a:pt x="4987474" y="2843788"/>
                  <a:pt x="4992871" y="2886513"/>
                  <a:pt x="4993936" y="2911749"/>
                </a:cubicBezTo>
                <a:cubicBezTo>
                  <a:pt x="4993313" y="2946689"/>
                  <a:pt x="4980300" y="2954448"/>
                  <a:pt x="4992563" y="2977278"/>
                </a:cubicBezTo>
                <a:cubicBezTo>
                  <a:pt x="4985688" y="2983455"/>
                  <a:pt x="4982051" y="2987749"/>
                  <a:pt x="4980516" y="2991092"/>
                </a:cubicBezTo>
                <a:cubicBezTo>
                  <a:pt x="4975910" y="3001119"/>
                  <a:pt x="4990216" y="3002537"/>
                  <a:pt x="4992801" y="3020247"/>
                </a:cubicBezTo>
                <a:cubicBezTo>
                  <a:pt x="4998517" y="3032637"/>
                  <a:pt x="5013148" y="3051512"/>
                  <a:pt x="5014805" y="3065434"/>
                </a:cubicBezTo>
                <a:cubicBezTo>
                  <a:pt x="4998836" y="3057428"/>
                  <a:pt x="5016840" y="3105196"/>
                  <a:pt x="5002733" y="3103777"/>
                </a:cubicBezTo>
                <a:cubicBezTo>
                  <a:pt x="5022381" y="3124610"/>
                  <a:pt x="4997365" y="3128169"/>
                  <a:pt x="5002941" y="3151828"/>
                </a:cubicBezTo>
                <a:cubicBezTo>
                  <a:pt x="5010264" y="3163902"/>
                  <a:pt x="5011356" y="3171780"/>
                  <a:pt x="5002883" y="3180546"/>
                </a:cubicBezTo>
                <a:cubicBezTo>
                  <a:pt x="5038586" y="3236545"/>
                  <a:pt x="5003723" y="3210316"/>
                  <a:pt x="5016711" y="3258677"/>
                </a:cubicBezTo>
                <a:lnTo>
                  <a:pt x="5017918" y="3262610"/>
                </a:lnTo>
                <a:lnTo>
                  <a:pt x="5011672" y="3277179"/>
                </a:lnTo>
                <a:lnTo>
                  <a:pt x="5009344" y="3278130"/>
                </a:lnTo>
                <a:lnTo>
                  <a:pt x="5026770" y="3325671"/>
                </a:lnTo>
                <a:lnTo>
                  <a:pt x="5024571" y="3332072"/>
                </a:lnTo>
                <a:lnTo>
                  <a:pt x="5041705" y="3362948"/>
                </a:lnTo>
                <a:lnTo>
                  <a:pt x="5047477" y="3378959"/>
                </a:lnTo>
                <a:lnTo>
                  <a:pt x="5060758" y="3407057"/>
                </a:lnTo>
                <a:lnTo>
                  <a:pt x="5058968" y="3409825"/>
                </a:lnTo>
                <a:lnTo>
                  <a:pt x="5062667" y="3415218"/>
                </a:lnTo>
                <a:lnTo>
                  <a:pt x="5060928" y="3419880"/>
                </a:lnTo>
                <a:lnTo>
                  <a:pt x="5062923" y="3424545"/>
                </a:lnTo>
                <a:cubicBezTo>
                  <a:pt x="5063537" y="3433967"/>
                  <a:pt x="5063494" y="3466028"/>
                  <a:pt x="5064623" y="3476412"/>
                </a:cubicBezTo>
                <a:lnTo>
                  <a:pt x="5069684" y="3486850"/>
                </a:lnTo>
                <a:lnTo>
                  <a:pt x="5063339" y="3496391"/>
                </a:lnTo>
                <a:lnTo>
                  <a:pt x="5070139" y="3531201"/>
                </a:lnTo>
                <a:lnTo>
                  <a:pt x="5079896" y="3542019"/>
                </a:lnTo>
                <a:lnTo>
                  <a:pt x="5087540" y="3552249"/>
                </a:lnTo>
                <a:lnTo>
                  <a:pt x="5087902" y="3553678"/>
                </a:lnTo>
                <a:lnTo>
                  <a:pt x="5091509" y="3568021"/>
                </a:lnTo>
                <a:lnTo>
                  <a:pt x="5091934" y="3569719"/>
                </a:lnTo>
                <a:lnTo>
                  <a:pt x="5089362" y="3586412"/>
                </a:lnTo>
                <a:lnTo>
                  <a:pt x="5092358" y="3597336"/>
                </a:lnTo>
                <a:lnTo>
                  <a:pt x="5084254" y="3606007"/>
                </a:lnTo>
                <a:cubicBezTo>
                  <a:pt x="5084262" y="3617747"/>
                  <a:pt x="5084273" y="3629488"/>
                  <a:pt x="5084281" y="3641228"/>
                </a:cubicBezTo>
                <a:lnTo>
                  <a:pt x="5091848" y="3653088"/>
                </a:lnTo>
                <a:lnTo>
                  <a:pt x="5097436" y="3664114"/>
                </a:lnTo>
                <a:cubicBezTo>
                  <a:pt x="5097463" y="3664599"/>
                  <a:pt x="5097491" y="3665084"/>
                  <a:pt x="5097518" y="3665569"/>
                </a:cubicBezTo>
                <a:cubicBezTo>
                  <a:pt x="5097915" y="3672776"/>
                  <a:pt x="5096966" y="3688591"/>
                  <a:pt x="5099829" y="3707357"/>
                </a:cubicBezTo>
                <a:cubicBezTo>
                  <a:pt x="5100505" y="3724716"/>
                  <a:pt x="5118078" y="3760234"/>
                  <a:pt x="5114696" y="3778166"/>
                </a:cubicBezTo>
                <a:cubicBezTo>
                  <a:pt x="5141627" y="3845122"/>
                  <a:pt x="5125427" y="3821305"/>
                  <a:pt x="5135379" y="3878222"/>
                </a:cubicBezTo>
                <a:cubicBezTo>
                  <a:pt x="5161519" y="3905047"/>
                  <a:pt x="5125417" y="4015047"/>
                  <a:pt x="5130138" y="4048117"/>
                </a:cubicBezTo>
                <a:cubicBezTo>
                  <a:pt x="5081804" y="4192084"/>
                  <a:pt x="5096262" y="4158987"/>
                  <a:pt x="5090040" y="4219510"/>
                </a:cubicBezTo>
                <a:cubicBezTo>
                  <a:pt x="5104553" y="4280033"/>
                  <a:pt x="5065380" y="4345686"/>
                  <a:pt x="5092812" y="4411258"/>
                </a:cubicBezTo>
                <a:cubicBezTo>
                  <a:pt x="5090630" y="4437329"/>
                  <a:pt x="5083878" y="4473140"/>
                  <a:pt x="5084599" y="4488531"/>
                </a:cubicBezTo>
                <a:cubicBezTo>
                  <a:pt x="5084423" y="4505410"/>
                  <a:pt x="5084248" y="4522289"/>
                  <a:pt x="5084072" y="4539168"/>
                </a:cubicBezTo>
                <a:cubicBezTo>
                  <a:pt x="5072114" y="4567830"/>
                  <a:pt x="5064305" y="4588197"/>
                  <a:pt x="5068936" y="4625153"/>
                </a:cubicBezTo>
                <a:cubicBezTo>
                  <a:pt x="5077433" y="4662889"/>
                  <a:pt x="5065899" y="4679357"/>
                  <a:pt x="5059114" y="4733115"/>
                </a:cubicBezTo>
                <a:cubicBezTo>
                  <a:pt x="5068687" y="4752352"/>
                  <a:pt x="5055370" y="4832308"/>
                  <a:pt x="5037209" y="4844323"/>
                </a:cubicBezTo>
                <a:cubicBezTo>
                  <a:pt x="5033444" y="4857054"/>
                  <a:pt x="5040194" y="4871554"/>
                  <a:pt x="5020638" y="4877992"/>
                </a:cubicBezTo>
                <a:cubicBezTo>
                  <a:pt x="4997151" y="4888353"/>
                  <a:pt x="5034418" y="4931200"/>
                  <a:pt x="5006413" y="4925805"/>
                </a:cubicBezTo>
                <a:cubicBezTo>
                  <a:pt x="5031964" y="4956261"/>
                  <a:pt x="4982840" y="4982633"/>
                  <a:pt x="4971037" y="5009272"/>
                </a:cubicBezTo>
                <a:cubicBezTo>
                  <a:pt x="4973259" y="5034036"/>
                  <a:pt x="4968375" y="5053859"/>
                  <a:pt x="4963105" y="5111369"/>
                </a:cubicBezTo>
                <a:cubicBezTo>
                  <a:pt x="4973224" y="5141336"/>
                  <a:pt x="4937413" y="5161742"/>
                  <a:pt x="4976341" y="5210876"/>
                </a:cubicBezTo>
                <a:cubicBezTo>
                  <a:pt x="4972455" y="5212581"/>
                  <a:pt x="4977054" y="5227501"/>
                  <a:pt x="4980617" y="5269726"/>
                </a:cubicBezTo>
                <a:cubicBezTo>
                  <a:pt x="4984182" y="5311951"/>
                  <a:pt x="4990390" y="5400671"/>
                  <a:pt x="4997733" y="5464225"/>
                </a:cubicBezTo>
                <a:cubicBezTo>
                  <a:pt x="5001765" y="5536542"/>
                  <a:pt x="4990225" y="5517959"/>
                  <a:pt x="5001400" y="5594585"/>
                </a:cubicBezTo>
                <a:cubicBezTo>
                  <a:pt x="4999908" y="5619318"/>
                  <a:pt x="4974042" y="5647975"/>
                  <a:pt x="4983700" y="5667896"/>
                </a:cubicBezTo>
                <a:cubicBezTo>
                  <a:pt x="4976834" y="5696311"/>
                  <a:pt x="4975579" y="5738356"/>
                  <a:pt x="4968506" y="5769225"/>
                </a:cubicBezTo>
                <a:cubicBezTo>
                  <a:pt x="4968926" y="5787258"/>
                  <a:pt x="4969344" y="5805291"/>
                  <a:pt x="4969765" y="5823324"/>
                </a:cubicBezTo>
                <a:cubicBezTo>
                  <a:pt x="4966122" y="5853058"/>
                  <a:pt x="4965608" y="5838948"/>
                  <a:pt x="4966129" y="5862699"/>
                </a:cubicBezTo>
                <a:lnTo>
                  <a:pt x="4970695" y="5906467"/>
                </a:lnTo>
                <a:lnTo>
                  <a:pt x="4991568" y="5939847"/>
                </a:lnTo>
                <a:cubicBezTo>
                  <a:pt x="4998848" y="5955713"/>
                  <a:pt x="4974731" y="5940131"/>
                  <a:pt x="4986815" y="5973994"/>
                </a:cubicBezTo>
                <a:cubicBezTo>
                  <a:pt x="4961187" y="5997051"/>
                  <a:pt x="4983444" y="6032039"/>
                  <a:pt x="4987776" y="6089693"/>
                </a:cubicBezTo>
                <a:lnTo>
                  <a:pt x="4991621" y="6224938"/>
                </a:lnTo>
                <a:cubicBezTo>
                  <a:pt x="4988442" y="6270972"/>
                  <a:pt x="5008962" y="6317522"/>
                  <a:pt x="5017157" y="6370251"/>
                </a:cubicBezTo>
                <a:cubicBezTo>
                  <a:pt x="5025353" y="6422980"/>
                  <a:pt x="5039938" y="6490855"/>
                  <a:pt x="5040797" y="6541313"/>
                </a:cubicBezTo>
                <a:cubicBezTo>
                  <a:pt x="5039898" y="6576319"/>
                  <a:pt x="5031912" y="6591883"/>
                  <a:pt x="5045375" y="6640957"/>
                </a:cubicBezTo>
                <a:cubicBezTo>
                  <a:pt x="5057505" y="6669536"/>
                  <a:pt x="5052276" y="6675394"/>
                  <a:pt x="5058442" y="6705297"/>
                </a:cubicBezTo>
                <a:cubicBezTo>
                  <a:pt x="5057367" y="6727133"/>
                  <a:pt x="5067901" y="6732087"/>
                  <a:pt x="5071125" y="6759582"/>
                </a:cubicBezTo>
                <a:cubicBezTo>
                  <a:pt x="5055614" y="6796071"/>
                  <a:pt x="5051656" y="6769544"/>
                  <a:pt x="5069172" y="6817746"/>
                </a:cubicBezTo>
                <a:cubicBezTo>
                  <a:pt x="5060956" y="6828354"/>
                  <a:pt x="5064525" y="6836369"/>
                  <a:pt x="5072322" y="6843646"/>
                </a:cubicBezTo>
                <a:lnTo>
                  <a:pt x="5091388" y="6857998"/>
                </a:lnTo>
                <a:lnTo>
                  <a:pt x="6096000" y="6857998"/>
                </a:lnTo>
                <a:lnTo>
                  <a:pt x="6096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82766A">
              <a:alpha val="1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0" name="Tekstiruutu 9">
            <a:extLst>
              <a:ext uri="{FF2B5EF4-FFF2-40B4-BE49-F238E27FC236}">
                <a16:creationId xmlns:a16="http://schemas.microsoft.com/office/drawing/2014/main" id="{0AA9639B-B7E2-44C5-9CA4-50187E024E5F}"/>
              </a:ext>
            </a:extLst>
          </p:cNvPr>
          <p:cNvSpPr txBox="1"/>
          <p:nvPr/>
        </p:nvSpPr>
        <p:spPr>
          <a:xfrm>
            <a:off x="838200" y="609600"/>
            <a:ext cx="3739341" cy="1330839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en-US" sz="3600" i="0" kern="1200" dirty="0">
                <a:solidFill>
                  <a:schemeClr val="tx1"/>
                </a:solidFill>
                <a:effectLst/>
                <a:latin typeface="Myriad Pro Semibold"/>
                <a:ea typeface="+mj-ea"/>
                <a:cs typeface="+mj-cs"/>
              </a:rPr>
              <a:t>Fotosynteesi ja </a:t>
            </a:r>
            <a:r>
              <a:rPr lang="en-US" sz="3600" i="0" kern="1200" dirty="0" err="1">
                <a:solidFill>
                  <a:schemeClr val="tx1"/>
                </a:solidFill>
                <a:effectLst/>
                <a:latin typeface="Myriad Pro Semibold"/>
                <a:ea typeface="+mj-ea"/>
                <a:cs typeface="+mj-cs"/>
              </a:rPr>
              <a:t>soluhengitys</a:t>
            </a:r>
            <a:endParaRPr lang="en-US" sz="3600" kern="1200" dirty="0">
              <a:solidFill>
                <a:schemeClr val="tx1"/>
              </a:solidFill>
              <a:latin typeface="Myriad Pro Semibold"/>
              <a:ea typeface="+mj-ea"/>
              <a:cs typeface="+mj-cs"/>
            </a:endParaRPr>
          </a:p>
        </p:txBody>
      </p:sp>
      <p:pic>
        <p:nvPicPr>
          <p:cNvPr id="6" name="Kuva 5">
            <a:extLst>
              <a:ext uri="{FF2B5EF4-FFF2-40B4-BE49-F238E27FC236}">
                <a16:creationId xmlns:a16="http://schemas.microsoft.com/office/drawing/2014/main" id="{9D1B725A-9F7F-4A5F-A8A5-52289C013BBA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5358088" y="1522821"/>
            <a:ext cx="5920595" cy="4120976"/>
          </a:xfrm>
          <a:prstGeom prst="rect">
            <a:avLst/>
          </a:prstGeom>
        </p:spPr>
      </p:pic>
      <p:sp>
        <p:nvSpPr>
          <p:cNvPr id="3" name="Tekstiruutu 2">
            <a:extLst>
              <a:ext uri="{FF2B5EF4-FFF2-40B4-BE49-F238E27FC236}">
                <a16:creationId xmlns:a16="http://schemas.microsoft.com/office/drawing/2014/main" id="{F11D86D1-2E03-42E9-A372-AD660C7DB75E}"/>
              </a:ext>
            </a:extLst>
          </p:cNvPr>
          <p:cNvSpPr txBox="1"/>
          <p:nvPr/>
        </p:nvSpPr>
        <p:spPr>
          <a:xfrm>
            <a:off x="1322754" y="1522820"/>
            <a:ext cx="2748041" cy="360191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endParaRPr lang="en-US" sz="3600" kern="1200" dirty="0">
              <a:solidFill>
                <a:srgbClr val="FFFFFF"/>
              </a:solidFill>
              <a:latin typeface="+mj-lt"/>
              <a:ea typeface="+mj-ea"/>
              <a:cs typeface="+mj-cs"/>
            </a:endParaRPr>
          </a:p>
        </p:txBody>
      </p:sp>
      <p:pic>
        <p:nvPicPr>
          <p:cNvPr id="4" name="Kuva 3">
            <a:extLst>
              <a:ext uri="{FF2B5EF4-FFF2-40B4-BE49-F238E27FC236}">
                <a16:creationId xmlns:a16="http://schemas.microsoft.com/office/drawing/2014/main" id="{DFAA2138-5CF7-4889-ACC3-41F434DA99C7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1073494" y="6261944"/>
            <a:ext cx="1115457" cy="515455"/>
          </a:xfrm>
          <a:prstGeom prst="rect">
            <a:avLst/>
          </a:prstGeom>
        </p:spPr>
      </p:pic>
      <p:graphicFrame>
        <p:nvGraphicFramePr>
          <p:cNvPr id="8" name="Tekstiruutu 5">
            <a:extLst>
              <a:ext uri="{FF2B5EF4-FFF2-40B4-BE49-F238E27FC236}">
                <a16:creationId xmlns:a16="http://schemas.microsoft.com/office/drawing/2014/main" id="{B936F7B1-E20A-3AF0-9D08-1FF57680278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564020925"/>
              </p:ext>
            </p:extLst>
          </p:nvPr>
        </p:nvGraphicFramePr>
        <p:xfrm>
          <a:off x="862366" y="2194102"/>
          <a:ext cx="3484782" cy="390858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</p:spTree>
    <p:extLst>
      <p:ext uri="{BB962C8B-B14F-4D97-AF65-F5344CB8AC3E}">
        <p14:creationId xmlns:p14="http://schemas.microsoft.com/office/powerpoint/2010/main" val="256724827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59" name="Rectangle 58">
            <a:extLst>
              <a:ext uri="{FF2B5EF4-FFF2-40B4-BE49-F238E27FC236}">
                <a16:creationId xmlns:a16="http://schemas.microsoft.com/office/drawing/2014/main" id="{131BAD53-4E89-4F62-BBB7-26359763ED3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1" name="Freeform: Shape 60">
            <a:extLst>
              <a:ext uri="{FF2B5EF4-FFF2-40B4-BE49-F238E27FC236}">
                <a16:creationId xmlns:a16="http://schemas.microsoft.com/office/drawing/2014/main" id="{62756DA2-40EB-4C6F-B962-5822FFB54FB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5653438" cy="6858000"/>
          </a:xfrm>
          <a:custGeom>
            <a:avLst/>
            <a:gdLst>
              <a:gd name="connsiteX0" fmla="*/ 0 w 6096000"/>
              <a:gd name="connsiteY0" fmla="*/ 0 h 6858000"/>
              <a:gd name="connsiteX1" fmla="*/ 5567517 w 6096000"/>
              <a:gd name="connsiteY1" fmla="*/ 0 h 6858000"/>
              <a:gd name="connsiteX2" fmla="*/ 5566938 w 6096000"/>
              <a:gd name="connsiteY2" fmla="*/ 1705 h 6858000"/>
              <a:gd name="connsiteX3" fmla="*/ 5551594 w 6096000"/>
              <a:gd name="connsiteY3" fmla="*/ 17287 h 6858000"/>
              <a:gd name="connsiteX4" fmla="*/ 5545641 w 6096000"/>
              <a:gd name="connsiteY4" fmla="*/ 130336 h 6858000"/>
              <a:gd name="connsiteX5" fmla="*/ 5538289 w 6096000"/>
              <a:gd name="connsiteY5" fmla="*/ 187093 h 6858000"/>
              <a:gd name="connsiteX6" fmla="*/ 5545790 w 6096000"/>
              <a:gd name="connsiteY6" fmla="*/ 265704 h 6858000"/>
              <a:gd name="connsiteX7" fmla="*/ 5542313 w 6096000"/>
              <a:gd name="connsiteY7" fmla="*/ 354566 h 6858000"/>
              <a:gd name="connsiteX8" fmla="*/ 5524126 w 6096000"/>
              <a:gd name="connsiteY8" fmla="*/ 472000 h 6858000"/>
              <a:gd name="connsiteX9" fmla="*/ 5522170 w 6096000"/>
              <a:gd name="connsiteY9" fmla="*/ 473782 h 6858000"/>
              <a:gd name="connsiteX10" fmla="*/ 5521798 w 6096000"/>
              <a:gd name="connsiteY10" fmla="*/ 491380 h 6858000"/>
              <a:gd name="connsiteX11" fmla="*/ 5536419 w 6096000"/>
              <a:gd name="connsiteY11" fmla="*/ 531675 h 6858000"/>
              <a:gd name="connsiteX12" fmla="*/ 5533435 w 6096000"/>
              <a:gd name="connsiteY12" fmla="*/ 536015 h 6858000"/>
              <a:gd name="connsiteX13" fmla="*/ 5538088 w 6096000"/>
              <a:gd name="connsiteY13" fmla="*/ 572092 h 6858000"/>
              <a:gd name="connsiteX14" fmla="*/ 5536061 w 6096000"/>
              <a:gd name="connsiteY14" fmla="*/ 572511 h 6858000"/>
              <a:gd name="connsiteX15" fmla="*/ 5528218 w 6096000"/>
              <a:gd name="connsiteY15" fmla="*/ 582332 h 6858000"/>
              <a:gd name="connsiteX16" fmla="*/ 5518011 w 6096000"/>
              <a:gd name="connsiteY16" fmla="*/ 601285 h 6858000"/>
              <a:gd name="connsiteX17" fmla="*/ 5473174 w 6096000"/>
              <a:gd name="connsiteY17" fmla="*/ 681608 h 6858000"/>
              <a:gd name="connsiteX18" fmla="*/ 5472963 w 6096000"/>
              <a:gd name="connsiteY18" fmla="*/ 689151 h 6858000"/>
              <a:gd name="connsiteX19" fmla="*/ 5472485 w 6096000"/>
              <a:gd name="connsiteY19" fmla="*/ 689289 h 6858000"/>
              <a:gd name="connsiteX20" fmla="*/ 5471326 w 6096000"/>
              <a:gd name="connsiteY20" fmla="*/ 697222 h 6858000"/>
              <a:gd name="connsiteX21" fmla="*/ 5472164 w 6096000"/>
              <a:gd name="connsiteY21" fmla="*/ 717531 h 6858000"/>
              <a:gd name="connsiteX22" fmla="*/ 5468891 w 6096000"/>
              <a:gd name="connsiteY22" fmla="*/ 722494 h 6858000"/>
              <a:gd name="connsiteX23" fmla="*/ 5463081 w 6096000"/>
              <a:gd name="connsiteY23" fmla="*/ 724368 h 6858000"/>
              <a:gd name="connsiteX24" fmla="*/ 5446981 w 6096000"/>
              <a:gd name="connsiteY24" fmla="*/ 752692 h 6858000"/>
              <a:gd name="connsiteX25" fmla="*/ 5417190 w 6096000"/>
              <a:gd name="connsiteY25" fmla="*/ 816346 h 6858000"/>
              <a:gd name="connsiteX26" fmla="*/ 5388958 w 6096000"/>
              <a:gd name="connsiteY26" fmla="*/ 889417 h 6858000"/>
              <a:gd name="connsiteX27" fmla="*/ 5307044 w 6096000"/>
              <a:gd name="connsiteY27" fmla="*/ 1063288 h 6858000"/>
              <a:gd name="connsiteX28" fmla="*/ 5303837 w 6096000"/>
              <a:gd name="connsiteY28" fmla="*/ 1157176 h 6858000"/>
              <a:gd name="connsiteX29" fmla="*/ 5286494 w 6096000"/>
              <a:gd name="connsiteY29" fmla="*/ 1210776 h 6858000"/>
              <a:gd name="connsiteX30" fmla="*/ 5282463 w 6096000"/>
              <a:gd name="connsiteY30" fmla="*/ 1301993 h 6858000"/>
              <a:gd name="connsiteX31" fmla="*/ 5252235 w 6096000"/>
              <a:gd name="connsiteY31" fmla="*/ 1360879 h 6858000"/>
              <a:gd name="connsiteX32" fmla="*/ 5244497 w 6096000"/>
              <a:gd name="connsiteY32" fmla="*/ 1404045 h 6858000"/>
              <a:gd name="connsiteX33" fmla="*/ 5223823 w 6096000"/>
              <a:gd name="connsiteY33" fmla="*/ 1429568 h 6858000"/>
              <a:gd name="connsiteX34" fmla="*/ 5224851 w 6096000"/>
              <a:gd name="connsiteY34" fmla="*/ 1430305 h 6858000"/>
              <a:gd name="connsiteX35" fmla="*/ 5212394 w 6096000"/>
              <a:gd name="connsiteY35" fmla="*/ 1463304 h 6858000"/>
              <a:gd name="connsiteX36" fmla="*/ 5209958 w 6096000"/>
              <a:gd name="connsiteY36" fmla="*/ 1514846 h 6858000"/>
              <a:gd name="connsiteX37" fmla="*/ 5206417 w 6096000"/>
              <a:gd name="connsiteY37" fmla="*/ 1519731 h 6858000"/>
              <a:gd name="connsiteX38" fmla="*/ 5206640 w 6096000"/>
              <a:gd name="connsiteY38" fmla="*/ 1519929 h 6858000"/>
              <a:gd name="connsiteX39" fmla="*/ 5207632 w 6096000"/>
              <a:gd name="connsiteY39" fmla="*/ 1546022 h 6858000"/>
              <a:gd name="connsiteX40" fmla="*/ 5212030 w 6096000"/>
              <a:gd name="connsiteY40" fmla="*/ 1578752 h 6858000"/>
              <a:gd name="connsiteX41" fmla="*/ 5203533 w 6096000"/>
              <a:gd name="connsiteY41" fmla="*/ 1647555 h 6858000"/>
              <a:gd name="connsiteX42" fmla="*/ 5190877 w 6096000"/>
              <a:gd name="connsiteY42" fmla="*/ 1715685 h 6858000"/>
              <a:gd name="connsiteX43" fmla="*/ 5184235 w 6096000"/>
              <a:gd name="connsiteY43" fmla="*/ 1740358 h 6858000"/>
              <a:gd name="connsiteX44" fmla="*/ 5181475 w 6096000"/>
              <a:gd name="connsiteY44" fmla="*/ 1784314 h 6858000"/>
              <a:gd name="connsiteX45" fmla="*/ 5185845 w 6096000"/>
              <a:gd name="connsiteY45" fmla="*/ 1804434 h 6858000"/>
              <a:gd name="connsiteX46" fmla="*/ 5185068 w 6096000"/>
              <a:gd name="connsiteY46" fmla="*/ 1805316 h 6858000"/>
              <a:gd name="connsiteX47" fmla="*/ 5188593 w 6096000"/>
              <a:gd name="connsiteY47" fmla="*/ 1807109 h 6858000"/>
              <a:gd name="connsiteX48" fmla="*/ 5185920 w 6096000"/>
              <a:gd name="connsiteY48" fmla="*/ 1821003 h 6858000"/>
              <a:gd name="connsiteX49" fmla="*/ 5183543 w 6096000"/>
              <a:gd name="connsiteY49" fmla="*/ 1824832 h 6858000"/>
              <a:gd name="connsiteX50" fmla="*/ 5182235 w 6096000"/>
              <a:gd name="connsiteY50" fmla="*/ 1830429 h 6858000"/>
              <a:gd name="connsiteX51" fmla="*/ 5182525 w 6096000"/>
              <a:gd name="connsiteY51" fmla="*/ 1830569 h 6858000"/>
              <a:gd name="connsiteX52" fmla="*/ 5180663 w 6096000"/>
              <a:gd name="connsiteY52" fmla="*/ 1835810 h 6858000"/>
              <a:gd name="connsiteX53" fmla="*/ 5167452 w 6096000"/>
              <a:gd name="connsiteY53" fmla="*/ 1861483 h 6858000"/>
              <a:gd name="connsiteX54" fmla="*/ 5174266 w 6096000"/>
              <a:gd name="connsiteY54" fmla="*/ 1892417 h 6858000"/>
              <a:gd name="connsiteX55" fmla="*/ 5189262 w 6096000"/>
              <a:gd name="connsiteY55" fmla="*/ 1895114 h 6858000"/>
              <a:gd name="connsiteX56" fmla="*/ 5187100 w 6096000"/>
              <a:gd name="connsiteY56" fmla="*/ 1899379 h 6858000"/>
              <a:gd name="connsiteX57" fmla="*/ 5180471 w 6096000"/>
              <a:gd name="connsiteY57" fmla="*/ 1907867 h 6858000"/>
              <a:gd name="connsiteX58" fmla="*/ 5181361 w 6096000"/>
              <a:gd name="connsiteY58" fmla="*/ 1910265 h 6858000"/>
              <a:gd name="connsiteX59" fmla="*/ 5178268 w 6096000"/>
              <a:gd name="connsiteY59" fmla="*/ 1935584 h 6858000"/>
              <a:gd name="connsiteX60" fmla="*/ 5183619 w 6096000"/>
              <a:gd name="connsiteY60" fmla="*/ 1942021 h 6858000"/>
              <a:gd name="connsiteX61" fmla="*/ 5184480 w 6096000"/>
              <a:gd name="connsiteY61" fmla="*/ 1945112 h 6858000"/>
              <a:gd name="connsiteX62" fmla="*/ 5172776 w 6096000"/>
              <a:gd name="connsiteY62" fmla="*/ 1961162 h 6858000"/>
              <a:gd name="connsiteX63" fmla="*/ 5168513 w 6096000"/>
              <a:gd name="connsiteY63" fmla="*/ 1969445 h 6858000"/>
              <a:gd name="connsiteX64" fmla="*/ 5126597 w 6096000"/>
              <a:gd name="connsiteY64" fmla="*/ 2024270 h 6858000"/>
              <a:gd name="connsiteX65" fmla="*/ 5119528 w 6096000"/>
              <a:gd name="connsiteY65" fmla="*/ 2107942 h 6858000"/>
              <a:gd name="connsiteX66" fmla="*/ 5110356 w 6096000"/>
              <a:gd name="connsiteY66" fmla="*/ 2193455 h 6858000"/>
              <a:gd name="connsiteX67" fmla="*/ 5104992 w 6096000"/>
              <a:gd name="connsiteY67" fmla="*/ 2260088 h 6858000"/>
              <a:gd name="connsiteX68" fmla="*/ 5059439 w 6096000"/>
              <a:gd name="connsiteY68" fmla="*/ 2335735 h 6858000"/>
              <a:gd name="connsiteX69" fmla="*/ 5022061 w 6096000"/>
              <a:gd name="connsiteY69" fmla="*/ 2408995 h 6858000"/>
              <a:gd name="connsiteX70" fmla="*/ 5022253 w 6096000"/>
              <a:gd name="connsiteY70" fmla="*/ 2445869 h 6858000"/>
              <a:gd name="connsiteX71" fmla="*/ 5011426 w 6096000"/>
              <a:gd name="connsiteY71" fmla="*/ 2496499 h 6858000"/>
              <a:gd name="connsiteX72" fmla="*/ 4994224 w 6096000"/>
              <a:gd name="connsiteY72" fmla="*/ 2549900 h 6858000"/>
              <a:gd name="connsiteX73" fmla="*/ 4995245 w 6096000"/>
              <a:gd name="connsiteY73" fmla="*/ 2596456 h 6858000"/>
              <a:gd name="connsiteX74" fmla="*/ 4988570 w 6096000"/>
              <a:gd name="connsiteY74" fmla="*/ 2606088 h 6858000"/>
              <a:gd name="connsiteX75" fmla="*/ 4988371 w 6096000"/>
              <a:gd name="connsiteY75" fmla="*/ 2635351 h 6858000"/>
              <a:gd name="connsiteX76" fmla="*/ 4983212 w 6096000"/>
              <a:gd name="connsiteY76" fmla="*/ 2665666 h 6858000"/>
              <a:gd name="connsiteX77" fmla="*/ 4968234 w 6096000"/>
              <a:gd name="connsiteY77" fmla="*/ 2715895 h 6858000"/>
              <a:gd name="connsiteX78" fmla="*/ 4975888 w 6096000"/>
              <a:gd name="connsiteY78" fmla="*/ 2725052 h 6858000"/>
              <a:gd name="connsiteX79" fmla="*/ 4980195 w 6096000"/>
              <a:gd name="connsiteY79" fmla="*/ 2726489 h 6858000"/>
              <a:gd name="connsiteX80" fmla="*/ 4976218 w 6096000"/>
              <a:gd name="connsiteY80" fmla="*/ 2740278 h 6858000"/>
              <a:gd name="connsiteX81" fmla="*/ 4980571 w 6096000"/>
              <a:gd name="connsiteY81" fmla="*/ 2751112 h 6858000"/>
              <a:gd name="connsiteX82" fmla="*/ 4973893 w 6096000"/>
              <a:gd name="connsiteY82" fmla="*/ 2760208 h 6858000"/>
              <a:gd name="connsiteX83" fmla="*/ 4979005 w 6096000"/>
              <a:gd name="connsiteY83" fmla="*/ 2790136 h 6858000"/>
              <a:gd name="connsiteX84" fmla="*/ 4986137 w 6096000"/>
              <a:gd name="connsiteY84" fmla="*/ 2804183 h 6858000"/>
              <a:gd name="connsiteX85" fmla="*/ 4986175 w 6096000"/>
              <a:gd name="connsiteY85" fmla="*/ 2825860 h 6858000"/>
              <a:gd name="connsiteX86" fmla="*/ 4993936 w 6096000"/>
              <a:gd name="connsiteY86" fmla="*/ 2911749 h 6858000"/>
              <a:gd name="connsiteX87" fmla="*/ 4992563 w 6096000"/>
              <a:gd name="connsiteY87" fmla="*/ 2977278 h 6858000"/>
              <a:gd name="connsiteX88" fmla="*/ 4980516 w 6096000"/>
              <a:gd name="connsiteY88" fmla="*/ 2991092 h 6858000"/>
              <a:gd name="connsiteX89" fmla="*/ 4992801 w 6096000"/>
              <a:gd name="connsiteY89" fmla="*/ 3020247 h 6858000"/>
              <a:gd name="connsiteX90" fmla="*/ 5014805 w 6096000"/>
              <a:gd name="connsiteY90" fmla="*/ 3065434 h 6858000"/>
              <a:gd name="connsiteX91" fmla="*/ 5002733 w 6096000"/>
              <a:gd name="connsiteY91" fmla="*/ 3103777 h 6858000"/>
              <a:gd name="connsiteX92" fmla="*/ 5002941 w 6096000"/>
              <a:gd name="connsiteY92" fmla="*/ 3151828 h 6858000"/>
              <a:gd name="connsiteX93" fmla="*/ 5002883 w 6096000"/>
              <a:gd name="connsiteY93" fmla="*/ 3180546 h 6858000"/>
              <a:gd name="connsiteX94" fmla="*/ 5016711 w 6096000"/>
              <a:gd name="connsiteY94" fmla="*/ 3258677 h 6858000"/>
              <a:gd name="connsiteX95" fmla="*/ 5017918 w 6096000"/>
              <a:gd name="connsiteY95" fmla="*/ 3262610 h 6858000"/>
              <a:gd name="connsiteX96" fmla="*/ 5011672 w 6096000"/>
              <a:gd name="connsiteY96" fmla="*/ 3277179 h 6858000"/>
              <a:gd name="connsiteX97" fmla="*/ 5009344 w 6096000"/>
              <a:gd name="connsiteY97" fmla="*/ 3278130 h 6858000"/>
              <a:gd name="connsiteX98" fmla="*/ 5026770 w 6096000"/>
              <a:gd name="connsiteY98" fmla="*/ 3325671 h 6858000"/>
              <a:gd name="connsiteX99" fmla="*/ 5024571 w 6096000"/>
              <a:gd name="connsiteY99" fmla="*/ 3332072 h 6858000"/>
              <a:gd name="connsiteX100" fmla="*/ 5041705 w 6096000"/>
              <a:gd name="connsiteY100" fmla="*/ 3362948 h 6858000"/>
              <a:gd name="connsiteX101" fmla="*/ 5047477 w 6096000"/>
              <a:gd name="connsiteY101" fmla="*/ 3378959 h 6858000"/>
              <a:gd name="connsiteX102" fmla="*/ 5060758 w 6096000"/>
              <a:gd name="connsiteY102" fmla="*/ 3407057 h 6858000"/>
              <a:gd name="connsiteX103" fmla="*/ 5058968 w 6096000"/>
              <a:gd name="connsiteY103" fmla="*/ 3409825 h 6858000"/>
              <a:gd name="connsiteX104" fmla="*/ 5062667 w 6096000"/>
              <a:gd name="connsiteY104" fmla="*/ 3415218 h 6858000"/>
              <a:gd name="connsiteX105" fmla="*/ 5060928 w 6096000"/>
              <a:gd name="connsiteY105" fmla="*/ 3419880 h 6858000"/>
              <a:gd name="connsiteX106" fmla="*/ 5062923 w 6096000"/>
              <a:gd name="connsiteY106" fmla="*/ 3424545 h 6858000"/>
              <a:gd name="connsiteX107" fmla="*/ 5064623 w 6096000"/>
              <a:gd name="connsiteY107" fmla="*/ 3476412 h 6858000"/>
              <a:gd name="connsiteX108" fmla="*/ 5069684 w 6096000"/>
              <a:gd name="connsiteY108" fmla="*/ 3486850 h 6858000"/>
              <a:gd name="connsiteX109" fmla="*/ 5063339 w 6096000"/>
              <a:gd name="connsiteY109" fmla="*/ 3496391 h 6858000"/>
              <a:gd name="connsiteX110" fmla="*/ 5070139 w 6096000"/>
              <a:gd name="connsiteY110" fmla="*/ 3531201 h 6858000"/>
              <a:gd name="connsiteX111" fmla="*/ 5079896 w 6096000"/>
              <a:gd name="connsiteY111" fmla="*/ 3542019 h 6858000"/>
              <a:gd name="connsiteX112" fmla="*/ 5087540 w 6096000"/>
              <a:gd name="connsiteY112" fmla="*/ 3552249 h 6858000"/>
              <a:gd name="connsiteX113" fmla="*/ 5087902 w 6096000"/>
              <a:gd name="connsiteY113" fmla="*/ 3553678 h 6858000"/>
              <a:gd name="connsiteX114" fmla="*/ 5091509 w 6096000"/>
              <a:gd name="connsiteY114" fmla="*/ 3568021 h 6858000"/>
              <a:gd name="connsiteX115" fmla="*/ 5091934 w 6096000"/>
              <a:gd name="connsiteY115" fmla="*/ 3569719 h 6858000"/>
              <a:gd name="connsiteX116" fmla="*/ 5089362 w 6096000"/>
              <a:gd name="connsiteY116" fmla="*/ 3586412 h 6858000"/>
              <a:gd name="connsiteX117" fmla="*/ 5092358 w 6096000"/>
              <a:gd name="connsiteY117" fmla="*/ 3597336 h 6858000"/>
              <a:gd name="connsiteX118" fmla="*/ 5084254 w 6096000"/>
              <a:gd name="connsiteY118" fmla="*/ 3606007 h 6858000"/>
              <a:gd name="connsiteX119" fmla="*/ 5084281 w 6096000"/>
              <a:gd name="connsiteY119" fmla="*/ 3641228 h 6858000"/>
              <a:gd name="connsiteX120" fmla="*/ 5091848 w 6096000"/>
              <a:gd name="connsiteY120" fmla="*/ 3653088 h 6858000"/>
              <a:gd name="connsiteX121" fmla="*/ 5097436 w 6096000"/>
              <a:gd name="connsiteY121" fmla="*/ 3664114 h 6858000"/>
              <a:gd name="connsiteX122" fmla="*/ 5097518 w 6096000"/>
              <a:gd name="connsiteY122" fmla="*/ 3665569 h 6858000"/>
              <a:gd name="connsiteX123" fmla="*/ 5099829 w 6096000"/>
              <a:gd name="connsiteY123" fmla="*/ 3707357 h 6858000"/>
              <a:gd name="connsiteX124" fmla="*/ 5114696 w 6096000"/>
              <a:gd name="connsiteY124" fmla="*/ 3778166 h 6858000"/>
              <a:gd name="connsiteX125" fmla="*/ 5135379 w 6096000"/>
              <a:gd name="connsiteY125" fmla="*/ 3878222 h 6858000"/>
              <a:gd name="connsiteX126" fmla="*/ 5130138 w 6096000"/>
              <a:gd name="connsiteY126" fmla="*/ 4048117 h 6858000"/>
              <a:gd name="connsiteX127" fmla="*/ 5090040 w 6096000"/>
              <a:gd name="connsiteY127" fmla="*/ 4219510 h 6858000"/>
              <a:gd name="connsiteX128" fmla="*/ 5092812 w 6096000"/>
              <a:gd name="connsiteY128" fmla="*/ 4411258 h 6858000"/>
              <a:gd name="connsiteX129" fmla="*/ 5084599 w 6096000"/>
              <a:gd name="connsiteY129" fmla="*/ 4488531 h 6858000"/>
              <a:gd name="connsiteX130" fmla="*/ 5084072 w 6096000"/>
              <a:gd name="connsiteY130" fmla="*/ 4539168 h 6858000"/>
              <a:gd name="connsiteX131" fmla="*/ 5068936 w 6096000"/>
              <a:gd name="connsiteY131" fmla="*/ 4625153 h 6858000"/>
              <a:gd name="connsiteX132" fmla="*/ 5059114 w 6096000"/>
              <a:gd name="connsiteY132" fmla="*/ 4733115 h 6858000"/>
              <a:gd name="connsiteX133" fmla="*/ 5037209 w 6096000"/>
              <a:gd name="connsiteY133" fmla="*/ 4844323 h 6858000"/>
              <a:gd name="connsiteX134" fmla="*/ 5020638 w 6096000"/>
              <a:gd name="connsiteY134" fmla="*/ 4877992 h 6858000"/>
              <a:gd name="connsiteX135" fmla="*/ 5006413 w 6096000"/>
              <a:gd name="connsiteY135" fmla="*/ 4925805 h 6858000"/>
              <a:gd name="connsiteX136" fmla="*/ 4971037 w 6096000"/>
              <a:gd name="connsiteY136" fmla="*/ 5009272 h 6858000"/>
              <a:gd name="connsiteX137" fmla="*/ 4963105 w 6096000"/>
              <a:gd name="connsiteY137" fmla="*/ 5111369 h 6858000"/>
              <a:gd name="connsiteX138" fmla="*/ 4976341 w 6096000"/>
              <a:gd name="connsiteY138" fmla="*/ 5210876 h 6858000"/>
              <a:gd name="connsiteX139" fmla="*/ 4980617 w 6096000"/>
              <a:gd name="connsiteY139" fmla="*/ 5269726 h 6858000"/>
              <a:gd name="connsiteX140" fmla="*/ 4997733 w 6096000"/>
              <a:gd name="connsiteY140" fmla="*/ 5464225 h 6858000"/>
              <a:gd name="connsiteX141" fmla="*/ 5001400 w 6096000"/>
              <a:gd name="connsiteY141" fmla="*/ 5594585 h 6858000"/>
              <a:gd name="connsiteX142" fmla="*/ 4983700 w 6096000"/>
              <a:gd name="connsiteY142" fmla="*/ 5667896 h 6858000"/>
              <a:gd name="connsiteX143" fmla="*/ 4968506 w 6096000"/>
              <a:gd name="connsiteY143" fmla="*/ 5769225 h 6858000"/>
              <a:gd name="connsiteX144" fmla="*/ 4969765 w 6096000"/>
              <a:gd name="connsiteY144" fmla="*/ 5823324 h 6858000"/>
              <a:gd name="connsiteX145" fmla="*/ 4966129 w 6096000"/>
              <a:gd name="connsiteY145" fmla="*/ 5862699 h 6858000"/>
              <a:gd name="connsiteX146" fmla="*/ 4970695 w 6096000"/>
              <a:gd name="connsiteY146" fmla="*/ 5906467 h 6858000"/>
              <a:gd name="connsiteX147" fmla="*/ 4991568 w 6096000"/>
              <a:gd name="connsiteY147" fmla="*/ 5939847 h 6858000"/>
              <a:gd name="connsiteX148" fmla="*/ 4986815 w 6096000"/>
              <a:gd name="connsiteY148" fmla="*/ 5973994 h 6858000"/>
              <a:gd name="connsiteX149" fmla="*/ 4987776 w 6096000"/>
              <a:gd name="connsiteY149" fmla="*/ 6089693 h 6858000"/>
              <a:gd name="connsiteX150" fmla="*/ 4991621 w 6096000"/>
              <a:gd name="connsiteY150" fmla="*/ 6224938 h 6858000"/>
              <a:gd name="connsiteX151" fmla="*/ 5017157 w 6096000"/>
              <a:gd name="connsiteY151" fmla="*/ 6370251 h 6858000"/>
              <a:gd name="connsiteX152" fmla="*/ 5040797 w 6096000"/>
              <a:gd name="connsiteY152" fmla="*/ 6541313 h 6858000"/>
              <a:gd name="connsiteX153" fmla="*/ 5045375 w 6096000"/>
              <a:gd name="connsiteY153" fmla="*/ 6640957 h 6858000"/>
              <a:gd name="connsiteX154" fmla="*/ 5058442 w 6096000"/>
              <a:gd name="connsiteY154" fmla="*/ 6705297 h 6858000"/>
              <a:gd name="connsiteX155" fmla="*/ 5071125 w 6096000"/>
              <a:gd name="connsiteY155" fmla="*/ 6759582 h 6858000"/>
              <a:gd name="connsiteX156" fmla="*/ 5069172 w 6096000"/>
              <a:gd name="connsiteY156" fmla="*/ 6817746 h 6858000"/>
              <a:gd name="connsiteX157" fmla="*/ 5072322 w 6096000"/>
              <a:gd name="connsiteY157" fmla="*/ 6843646 h 6858000"/>
              <a:gd name="connsiteX158" fmla="*/ 5091388 w 6096000"/>
              <a:gd name="connsiteY158" fmla="*/ 6857998 h 6858000"/>
              <a:gd name="connsiteX159" fmla="*/ 6096000 w 6096000"/>
              <a:gd name="connsiteY159" fmla="*/ 6857998 h 6858000"/>
              <a:gd name="connsiteX160" fmla="*/ 6096000 w 6096000"/>
              <a:gd name="connsiteY160" fmla="*/ 6858000 h 6858000"/>
              <a:gd name="connsiteX161" fmla="*/ 0 w 6096000"/>
              <a:gd name="connsiteY161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</a:cxnLst>
            <a:rect l="l" t="t" r="r" b="b"/>
            <a:pathLst>
              <a:path w="6096000" h="6858000">
                <a:moveTo>
                  <a:pt x="0" y="0"/>
                </a:moveTo>
                <a:lnTo>
                  <a:pt x="5567517" y="0"/>
                </a:lnTo>
                <a:lnTo>
                  <a:pt x="5566938" y="1705"/>
                </a:lnTo>
                <a:cubicBezTo>
                  <a:pt x="5563126" y="8440"/>
                  <a:pt x="5558112" y="13784"/>
                  <a:pt x="5551594" y="17287"/>
                </a:cubicBezTo>
                <a:cubicBezTo>
                  <a:pt x="5562364" y="82036"/>
                  <a:pt x="5510349" y="69804"/>
                  <a:pt x="5545641" y="130336"/>
                </a:cubicBezTo>
                <a:cubicBezTo>
                  <a:pt x="5526953" y="117589"/>
                  <a:pt x="5536978" y="162458"/>
                  <a:pt x="5538289" y="187093"/>
                </a:cubicBezTo>
                <a:cubicBezTo>
                  <a:pt x="5536205" y="226511"/>
                  <a:pt x="5545722" y="205530"/>
                  <a:pt x="5545790" y="265704"/>
                </a:cubicBezTo>
                <a:cubicBezTo>
                  <a:pt x="5542296" y="317533"/>
                  <a:pt x="5543813" y="325288"/>
                  <a:pt x="5542313" y="354566"/>
                </a:cubicBezTo>
                <a:lnTo>
                  <a:pt x="5524126" y="472000"/>
                </a:lnTo>
                <a:lnTo>
                  <a:pt x="5522170" y="473782"/>
                </a:lnTo>
                <a:cubicBezTo>
                  <a:pt x="5517847" y="482008"/>
                  <a:pt x="5518682" y="487340"/>
                  <a:pt x="5521798" y="491380"/>
                </a:cubicBezTo>
                <a:lnTo>
                  <a:pt x="5536419" y="531675"/>
                </a:lnTo>
                <a:lnTo>
                  <a:pt x="5533435" y="536015"/>
                </a:lnTo>
                <a:lnTo>
                  <a:pt x="5538088" y="572092"/>
                </a:lnTo>
                <a:lnTo>
                  <a:pt x="5536061" y="572511"/>
                </a:lnTo>
                <a:cubicBezTo>
                  <a:pt x="5531611" y="574271"/>
                  <a:pt x="5528529" y="577121"/>
                  <a:pt x="5528218" y="582332"/>
                </a:cubicBezTo>
                <a:cubicBezTo>
                  <a:pt x="5498002" y="573171"/>
                  <a:pt x="5516262" y="585107"/>
                  <a:pt x="5518011" y="601285"/>
                </a:cubicBezTo>
                <a:cubicBezTo>
                  <a:pt x="5508838" y="617831"/>
                  <a:pt x="5480684" y="666964"/>
                  <a:pt x="5473174" y="681608"/>
                </a:cubicBezTo>
                <a:cubicBezTo>
                  <a:pt x="5473102" y="684122"/>
                  <a:pt x="5473033" y="686637"/>
                  <a:pt x="5472963" y="689151"/>
                </a:cubicBezTo>
                <a:lnTo>
                  <a:pt x="5472485" y="689289"/>
                </a:lnTo>
                <a:cubicBezTo>
                  <a:pt x="5471434" y="690905"/>
                  <a:pt x="5470986" y="693376"/>
                  <a:pt x="5471326" y="697222"/>
                </a:cubicBezTo>
                <a:cubicBezTo>
                  <a:pt x="5471606" y="703992"/>
                  <a:pt x="5471884" y="710761"/>
                  <a:pt x="5472164" y="717531"/>
                </a:cubicBezTo>
                <a:lnTo>
                  <a:pt x="5468891" y="722494"/>
                </a:lnTo>
                <a:lnTo>
                  <a:pt x="5463081" y="724368"/>
                </a:lnTo>
                <a:lnTo>
                  <a:pt x="5446981" y="752692"/>
                </a:lnTo>
                <a:cubicBezTo>
                  <a:pt x="5454691" y="764380"/>
                  <a:pt x="5422719" y="808083"/>
                  <a:pt x="5417190" y="816346"/>
                </a:cubicBezTo>
                <a:lnTo>
                  <a:pt x="5388958" y="889417"/>
                </a:lnTo>
                <a:cubicBezTo>
                  <a:pt x="5320491" y="969963"/>
                  <a:pt x="5321907" y="1005331"/>
                  <a:pt x="5307044" y="1063288"/>
                </a:cubicBezTo>
                <a:cubicBezTo>
                  <a:pt x="5313332" y="1111028"/>
                  <a:pt x="5317096" y="1110140"/>
                  <a:pt x="5303837" y="1157176"/>
                </a:cubicBezTo>
                <a:cubicBezTo>
                  <a:pt x="5301103" y="1192124"/>
                  <a:pt x="5301884" y="1197232"/>
                  <a:pt x="5286494" y="1210776"/>
                </a:cubicBezTo>
                <a:lnTo>
                  <a:pt x="5282463" y="1301993"/>
                </a:lnTo>
                <a:lnTo>
                  <a:pt x="5252235" y="1360879"/>
                </a:lnTo>
                <a:lnTo>
                  <a:pt x="5244497" y="1404045"/>
                </a:lnTo>
                <a:lnTo>
                  <a:pt x="5223823" y="1429568"/>
                </a:lnTo>
                <a:lnTo>
                  <a:pt x="5224851" y="1430305"/>
                </a:lnTo>
                <a:cubicBezTo>
                  <a:pt x="5226697" y="1432466"/>
                  <a:pt x="5214738" y="1459891"/>
                  <a:pt x="5212394" y="1463304"/>
                </a:cubicBezTo>
                <a:cubicBezTo>
                  <a:pt x="5209912" y="1477394"/>
                  <a:pt x="5213027" y="1501295"/>
                  <a:pt x="5209958" y="1514846"/>
                </a:cubicBezTo>
                <a:lnTo>
                  <a:pt x="5206417" y="1519731"/>
                </a:lnTo>
                <a:lnTo>
                  <a:pt x="5206640" y="1519929"/>
                </a:lnTo>
                <a:cubicBezTo>
                  <a:pt x="5206490" y="1521210"/>
                  <a:pt x="5209710" y="1543635"/>
                  <a:pt x="5207632" y="1546022"/>
                </a:cubicBezTo>
                <a:lnTo>
                  <a:pt x="5212030" y="1578752"/>
                </a:lnTo>
                <a:cubicBezTo>
                  <a:pt x="5206147" y="1605585"/>
                  <a:pt x="5226381" y="1622803"/>
                  <a:pt x="5203533" y="1647555"/>
                </a:cubicBezTo>
                <a:cubicBezTo>
                  <a:pt x="5198128" y="1672675"/>
                  <a:pt x="5203213" y="1694404"/>
                  <a:pt x="5190877" y="1715685"/>
                </a:cubicBezTo>
                <a:cubicBezTo>
                  <a:pt x="5196815" y="1724301"/>
                  <a:pt x="5198098" y="1732435"/>
                  <a:pt x="5184235" y="1740358"/>
                </a:cubicBezTo>
                <a:cubicBezTo>
                  <a:pt x="5182625" y="1763793"/>
                  <a:pt x="5198368" y="1769422"/>
                  <a:pt x="5181475" y="1784314"/>
                </a:cubicBezTo>
                <a:cubicBezTo>
                  <a:pt x="5205987" y="1797417"/>
                  <a:pt x="5195246" y="1798221"/>
                  <a:pt x="5185845" y="1804434"/>
                </a:cubicBezTo>
                <a:lnTo>
                  <a:pt x="5185068" y="1805316"/>
                </a:lnTo>
                <a:lnTo>
                  <a:pt x="5188593" y="1807109"/>
                </a:lnTo>
                <a:lnTo>
                  <a:pt x="5185920" y="1821003"/>
                </a:lnTo>
                <a:lnTo>
                  <a:pt x="5183543" y="1824832"/>
                </a:lnTo>
                <a:cubicBezTo>
                  <a:pt x="5182284" y="1827468"/>
                  <a:pt x="5181937" y="1829219"/>
                  <a:pt x="5182235" y="1830429"/>
                </a:cubicBezTo>
                <a:lnTo>
                  <a:pt x="5182525" y="1830569"/>
                </a:lnTo>
                <a:lnTo>
                  <a:pt x="5180663" y="1835810"/>
                </a:lnTo>
                <a:cubicBezTo>
                  <a:pt x="5176779" y="1844665"/>
                  <a:pt x="5172297" y="1853278"/>
                  <a:pt x="5167452" y="1861483"/>
                </a:cubicBezTo>
                <a:cubicBezTo>
                  <a:pt x="5179827" y="1866643"/>
                  <a:pt x="5166788" y="1884999"/>
                  <a:pt x="5174266" y="1892417"/>
                </a:cubicBezTo>
                <a:lnTo>
                  <a:pt x="5189262" y="1895114"/>
                </a:lnTo>
                <a:lnTo>
                  <a:pt x="5187100" y="1899379"/>
                </a:lnTo>
                <a:lnTo>
                  <a:pt x="5180471" y="1907867"/>
                </a:lnTo>
                <a:cubicBezTo>
                  <a:pt x="5179609" y="1909162"/>
                  <a:pt x="5179647" y="1909994"/>
                  <a:pt x="5181361" y="1910265"/>
                </a:cubicBezTo>
                <a:cubicBezTo>
                  <a:pt x="5180995" y="1914884"/>
                  <a:pt x="5177893" y="1930292"/>
                  <a:pt x="5178268" y="1935584"/>
                </a:cubicBezTo>
                <a:lnTo>
                  <a:pt x="5183619" y="1942021"/>
                </a:lnTo>
                <a:lnTo>
                  <a:pt x="5184480" y="1945112"/>
                </a:lnTo>
                <a:lnTo>
                  <a:pt x="5172776" y="1961162"/>
                </a:lnTo>
                <a:lnTo>
                  <a:pt x="5168513" y="1969445"/>
                </a:lnTo>
                <a:lnTo>
                  <a:pt x="5126597" y="2024270"/>
                </a:lnTo>
                <a:lnTo>
                  <a:pt x="5119528" y="2107942"/>
                </a:lnTo>
                <a:cubicBezTo>
                  <a:pt x="5089290" y="2138038"/>
                  <a:pt x="5110415" y="2159228"/>
                  <a:pt x="5110356" y="2193455"/>
                </a:cubicBezTo>
                <a:cubicBezTo>
                  <a:pt x="5101302" y="2220953"/>
                  <a:pt x="5110381" y="2224200"/>
                  <a:pt x="5104992" y="2260088"/>
                </a:cubicBezTo>
                <a:cubicBezTo>
                  <a:pt x="5096504" y="2291744"/>
                  <a:pt x="5078225" y="2299003"/>
                  <a:pt x="5059439" y="2335735"/>
                </a:cubicBezTo>
                <a:cubicBezTo>
                  <a:pt x="5029465" y="2329020"/>
                  <a:pt x="5058046" y="2407546"/>
                  <a:pt x="5022061" y="2408995"/>
                </a:cubicBezTo>
                <a:cubicBezTo>
                  <a:pt x="5023289" y="2413465"/>
                  <a:pt x="5019654" y="2441580"/>
                  <a:pt x="5022253" y="2445869"/>
                </a:cubicBezTo>
                <a:cubicBezTo>
                  <a:pt x="5022440" y="2449625"/>
                  <a:pt x="5011241" y="2492743"/>
                  <a:pt x="5011426" y="2496499"/>
                </a:cubicBezTo>
                <a:lnTo>
                  <a:pt x="4994224" y="2549900"/>
                </a:lnTo>
                <a:cubicBezTo>
                  <a:pt x="4992353" y="2564757"/>
                  <a:pt x="4998952" y="2582253"/>
                  <a:pt x="4995245" y="2596456"/>
                </a:cubicBezTo>
                <a:lnTo>
                  <a:pt x="4988570" y="2606088"/>
                </a:lnTo>
                <a:cubicBezTo>
                  <a:pt x="4988504" y="2615842"/>
                  <a:pt x="4988436" y="2625597"/>
                  <a:pt x="4988371" y="2635351"/>
                </a:cubicBezTo>
                <a:lnTo>
                  <a:pt x="4983212" y="2665666"/>
                </a:lnTo>
                <a:lnTo>
                  <a:pt x="4968234" y="2715895"/>
                </a:lnTo>
                <a:lnTo>
                  <a:pt x="4975888" y="2725052"/>
                </a:lnTo>
                <a:lnTo>
                  <a:pt x="4980195" y="2726489"/>
                </a:lnTo>
                <a:lnTo>
                  <a:pt x="4976218" y="2740278"/>
                </a:lnTo>
                <a:lnTo>
                  <a:pt x="4980571" y="2751112"/>
                </a:lnTo>
                <a:lnTo>
                  <a:pt x="4973893" y="2760208"/>
                </a:lnTo>
                <a:lnTo>
                  <a:pt x="4979005" y="2790136"/>
                </a:lnTo>
                <a:lnTo>
                  <a:pt x="4986137" y="2804183"/>
                </a:lnTo>
                <a:cubicBezTo>
                  <a:pt x="4986150" y="2811409"/>
                  <a:pt x="4986162" y="2818634"/>
                  <a:pt x="4986175" y="2825860"/>
                </a:cubicBezTo>
                <a:cubicBezTo>
                  <a:pt x="4987474" y="2843788"/>
                  <a:pt x="4992871" y="2886513"/>
                  <a:pt x="4993936" y="2911749"/>
                </a:cubicBezTo>
                <a:cubicBezTo>
                  <a:pt x="4993313" y="2946689"/>
                  <a:pt x="4980300" y="2954448"/>
                  <a:pt x="4992563" y="2977278"/>
                </a:cubicBezTo>
                <a:cubicBezTo>
                  <a:pt x="4985688" y="2983455"/>
                  <a:pt x="4982051" y="2987749"/>
                  <a:pt x="4980516" y="2991092"/>
                </a:cubicBezTo>
                <a:cubicBezTo>
                  <a:pt x="4975910" y="3001119"/>
                  <a:pt x="4990216" y="3002537"/>
                  <a:pt x="4992801" y="3020247"/>
                </a:cubicBezTo>
                <a:cubicBezTo>
                  <a:pt x="4998517" y="3032637"/>
                  <a:pt x="5013148" y="3051512"/>
                  <a:pt x="5014805" y="3065434"/>
                </a:cubicBezTo>
                <a:cubicBezTo>
                  <a:pt x="4998836" y="3057428"/>
                  <a:pt x="5016840" y="3105196"/>
                  <a:pt x="5002733" y="3103777"/>
                </a:cubicBezTo>
                <a:cubicBezTo>
                  <a:pt x="5022381" y="3124610"/>
                  <a:pt x="4997365" y="3128169"/>
                  <a:pt x="5002941" y="3151828"/>
                </a:cubicBezTo>
                <a:cubicBezTo>
                  <a:pt x="5010264" y="3163902"/>
                  <a:pt x="5011356" y="3171780"/>
                  <a:pt x="5002883" y="3180546"/>
                </a:cubicBezTo>
                <a:cubicBezTo>
                  <a:pt x="5038586" y="3236545"/>
                  <a:pt x="5003723" y="3210316"/>
                  <a:pt x="5016711" y="3258677"/>
                </a:cubicBezTo>
                <a:lnTo>
                  <a:pt x="5017918" y="3262610"/>
                </a:lnTo>
                <a:lnTo>
                  <a:pt x="5011672" y="3277179"/>
                </a:lnTo>
                <a:lnTo>
                  <a:pt x="5009344" y="3278130"/>
                </a:lnTo>
                <a:lnTo>
                  <a:pt x="5026770" y="3325671"/>
                </a:lnTo>
                <a:lnTo>
                  <a:pt x="5024571" y="3332072"/>
                </a:lnTo>
                <a:lnTo>
                  <a:pt x="5041705" y="3362948"/>
                </a:lnTo>
                <a:lnTo>
                  <a:pt x="5047477" y="3378959"/>
                </a:lnTo>
                <a:lnTo>
                  <a:pt x="5060758" y="3407057"/>
                </a:lnTo>
                <a:lnTo>
                  <a:pt x="5058968" y="3409825"/>
                </a:lnTo>
                <a:lnTo>
                  <a:pt x="5062667" y="3415218"/>
                </a:lnTo>
                <a:lnTo>
                  <a:pt x="5060928" y="3419880"/>
                </a:lnTo>
                <a:lnTo>
                  <a:pt x="5062923" y="3424545"/>
                </a:lnTo>
                <a:cubicBezTo>
                  <a:pt x="5063537" y="3433967"/>
                  <a:pt x="5063494" y="3466028"/>
                  <a:pt x="5064623" y="3476412"/>
                </a:cubicBezTo>
                <a:lnTo>
                  <a:pt x="5069684" y="3486850"/>
                </a:lnTo>
                <a:lnTo>
                  <a:pt x="5063339" y="3496391"/>
                </a:lnTo>
                <a:lnTo>
                  <a:pt x="5070139" y="3531201"/>
                </a:lnTo>
                <a:lnTo>
                  <a:pt x="5079896" y="3542019"/>
                </a:lnTo>
                <a:lnTo>
                  <a:pt x="5087540" y="3552249"/>
                </a:lnTo>
                <a:lnTo>
                  <a:pt x="5087902" y="3553678"/>
                </a:lnTo>
                <a:lnTo>
                  <a:pt x="5091509" y="3568021"/>
                </a:lnTo>
                <a:lnTo>
                  <a:pt x="5091934" y="3569719"/>
                </a:lnTo>
                <a:lnTo>
                  <a:pt x="5089362" y="3586412"/>
                </a:lnTo>
                <a:lnTo>
                  <a:pt x="5092358" y="3597336"/>
                </a:lnTo>
                <a:lnTo>
                  <a:pt x="5084254" y="3606007"/>
                </a:lnTo>
                <a:cubicBezTo>
                  <a:pt x="5084262" y="3617747"/>
                  <a:pt x="5084273" y="3629488"/>
                  <a:pt x="5084281" y="3641228"/>
                </a:cubicBezTo>
                <a:lnTo>
                  <a:pt x="5091848" y="3653088"/>
                </a:lnTo>
                <a:lnTo>
                  <a:pt x="5097436" y="3664114"/>
                </a:lnTo>
                <a:cubicBezTo>
                  <a:pt x="5097463" y="3664599"/>
                  <a:pt x="5097491" y="3665084"/>
                  <a:pt x="5097518" y="3665569"/>
                </a:cubicBezTo>
                <a:cubicBezTo>
                  <a:pt x="5097915" y="3672776"/>
                  <a:pt x="5096966" y="3688591"/>
                  <a:pt x="5099829" y="3707357"/>
                </a:cubicBezTo>
                <a:cubicBezTo>
                  <a:pt x="5100505" y="3724716"/>
                  <a:pt x="5118078" y="3760234"/>
                  <a:pt x="5114696" y="3778166"/>
                </a:cubicBezTo>
                <a:cubicBezTo>
                  <a:pt x="5141627" y="3845122"/>
                  <a:pt x="5125427" y="3821305"/>
                  <a:pt x="5135379" y="3878222"/>
                </a:cubicBezTo>
                <a:cubicBezTo>
                  <a:pt x="5161519" y="3905047"/>
                  <a:pt x="5125417" y="4015047"/>
                  <a:pt x="5130138" y="4048117"/>
                </a:cubicBezTo>
                <a:cubicBezTo>
                  <a:pt x="5081804" y="4192084"/>
                  <a:pt x="5096262" y="4158987"/>
                  <a:pt x="5090040" y="4219510"/>
                </a:cubicBezTo>
                <a:cubicBezTo>
                  <a:pt x="5104553" y="4280033"/>
                  <a:pt x="5065380" y="4345686"/>
                  <a:pt x="5092812" y="4411258"/>
                </a:cubicBezTo>
                <a:cubicBezTo>
                  <a:pt x="5090630" y="4437329"/>
                  <a:pt x="5083878" y="4473140"/>
                  <a:pt x="5084599" y="4488531"/>
                </a:cubicBezTo>
                <a:cubicBezTo>
                  <a:pt x="5084423" y="4505410"/>
                  <a:pt x="5084248" y="4522289"/>
                  <a:pt x="5084072" y="4539168"/>
                </a:cubicBezTo>
                <a:cubicBezTo>
                  <a:pt x="5072114" y="4567830"/>
                  <a:pt x="5064305" y="4588197"/>
                  <a:pt x="5068936" y="4625153"/>
                </a:cubicBezTo>
                <a:cubicBezTo>
                  <a:pt x="5077433" y="4662889"/>
                  <a:pt x="5065899" y="4679357"/>
                  <a:pt x="5059114" y="4733115"/>
                </a:cubicBezTo>
                <a:cubicBezTo>
                  <a:pt x="5068687" y="4752352"/>
                  <a:pt x="5055370" y="4832308"/>
                  <a:pt x="5037209" y="4844323"/>
                </a:cubicBezTo>
                <a:cubicBezTo>
                  <a:pt x="5033444" y="4857054"/>
                  <a:pt x="5040194" y="4871554"/>
                  <a:pt x="5020638" y="4877992"/>
                </a:cubicBezTo>
                <a:cubicBezTo>
                  <a:pt x="4997151" y="4888353"/>
                  <a:pt x="5034418" y="4931200"/>
                  <a:pt x="5006413" y="4925805"/>
                </a:cubicBezTo>
                <a:cubicBezTo>
                  <a:pt x="5031964" y="4956261"/>
                  <a:pt x="4982840" y="4982633"/>
                  <a:pt x="4971037" y="5009272"/>
                </a:cubicBezTo>
                <a:cubicBezTo>
                  <a:pt x="4973259" y="5034036"/>
                  <a:pt x="4968375" y="5053859"/>
                  <a:pt x="4963105" y="5111369"/>
                </a:cubicBezTo>
                <a:cubicBezTo>
                  <a:pt x="4973224" y="5141336"/>
                  <a:pt x="4937413" y="5161742"/>
                  <a:pt x="4976341" y="5210876"/>
                </a:cubicBezTo>
                <a:cubicBezTo>
                  <a:pt x="4972455" y="5212581"/>
                  <a:pt x="4977054" y="5227501"/>
                  <a:pt x="4980617" y="5269726"/>
                </a:cubicBezTo>
                <a:cubicBezTo>
                  <a:pt x="4984182" y="5311951"/>
                  <a:pt x="4990390" y="5400671"/>
                  <a:pt x="4997733" y="5464225"/>
                </a:cubicBezTo>
                <a:cubicBezTo>
                  <a:pt x="5001765" y="5536542"/>
                  <a:pt x="4990225" y="5517959"/>
                  <a:pt x="5001400" y="5594585"/>
                </a:cubicBezTo>
                <a:cubicBezTo>
                  <a:pt x="4999908" y="5619318"/>
                  <a:pt x="4974042" y="5647975"/>
                  <a:pt x="4983700" y="5667896"/>
                </a:cubicBezTo>
                <a:cubicBezTo>
                  <a:pt x="4976834" y="5696311"/>
                  <a:pt x="4975579" y="5738356"/>
                  <a:pt x="4968506" y="5769225"/>
                </a:cubicBezTo>
                <a:cubicBezTo>
                  <a:pt x="4968926" y="5787258"/>
                  <a:pt x="4969344" y="5805291"/>
                  <a:pt x="4969765" y="5823324"/>
                </a:cubicBezTo>
                <a:cubicBezTo>
                  <a:pt x="4966122" y="5853058"/>
                  <a:pt x="4965608" y="5838948"/>
                  <a:pt x="4966129" y="5862699"/>
                </a:cubicBezTo>
                <a:lnTo>
                  <a:pt x="4970695" y="5906467"/>
                </a:lnTo>
                <a:lnTo>
                  <a:pt x="4991568" y="5939847"/>
                </a:lnTo>
                <a:cubicBezTo>
                  <a:pt x="4998848" y="5955713"/>
                  <a:pt x="4974731" y="5940131"/>
                  <a:pt x="4986815" y="5973994"/>
                </a:cubicBezTo>
                <a:cubicBezTo>
                  <a:pt x="4961187" y="5997051"/>
                  <a:pt x="4983444" y="6032039"/>
                  <a:pt x="4987776" y="6089693"/>
                </a:cubicBezTo>
                <a:lnTo>
                  <a:pt x="4991621" y="6224938"/>
                </a:lnTo>
                <a:cubicBezTo>
                  <a:pt x="4988442" y="6270972"/>
                  <a:pt x="5008962" y="6317522"/>
                  <a:pt x="5017157" y="6370251"/>
                </a:cubicBezTo>
                <a:cubicBezTo>
                  <a:pt x="5025353" y="6422980"/>
                  <a:pt x="5039938" y="6490855"/>
                  <a:pt x="5040797" y="6541313"/>
                </a:cubicBezTo>
                <a:cubicBezTo>
                  <a:pt x="5039898" y="6576319"/>
                  <a:pt x="5031912" y="6591883"/>
                  <a:pt x="5045375" y="6640957"/>
                </a:cubicBezTo>
                <a:cubicBezTo>
                  <a:pt x="5057505" y="6669536"/>
                  <a:pt x="5052276" y="6675394"/>
                  <a:pt x="5058442" y="6705297"/>
                </a:cubicBezTo>
                <a:cubicBezTo>
                  <a:pt x="5057367" y="6727133"/>
                  <a:pt x="5067901" y="6732087"/>
                  <a:pt x="5071125" y="6759582"/>
                </a:cubicBezTo>
                <a:cubicBezTo>
                  <a:pt x="5055614" y="6796071"/>
                  <a:pt x="5051656" y="6769544"/>
                  <a:pt x="5069172" y="6817746"/>
                </a:cubicBezTo>
                <a:cubicBezTo>
                  <a:pt x="5060956" y="6828354"/>
                  <a:pt x="5064525" y="6836369"/>
                  <a:pt x="5072322" y="6843646"/>
                </a:cubicBezTo>
                <a:lnTo>
                  <a:pt x="5091388" y="6857998"/>
                </a:lnTo>
                <a:lnTo>
                  <a:pt x="6096000" y="6857998"/>
                </a:lnTo>
                <a:lnTo>
                  <a:pt x="6096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82766A">
              <a:alpha val="1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0" name="Tekstiruutu 9">
            <a:extLst>
              <a:ext uri="{FF2B5EF4-FFF2-40B4-BE49-F238E27FC236}">
                <a16:creationId xmlns:a16="http://schemas.microsoft.com/office/drawing/2014/main" id="{0AA9639B-B7E2-44C5-9CA4-50187E024E5F}"/>
              </a:ext>
            </a:extLst>
          </p:cNvPr>
          <p:cNvSpPr txBox="1"/>
          <p:nvPr/>
        </p:nvSpPr>
        <p:spPr>
          <a:xfrm>
            <a:off x="838200" y="609600"/>
            <a:ext cx="3739341" cy="1330839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en-US" sz="3600" i="0" kern="1200" dirty="0">
                <a:solidFill>
                  <a:schemeClr val="tx1"/>
                </a:solidFill>
                <a:effectLst/>
                <a:latin typeface="Myriad Pro Semibold"/>
                <a:ea typeface="+mj-ea"/>
                <a:cs typeface="+mj-cs"/>
              </a:rPr>
              <a:t>Soluhengitykseen </a:t>
            </a:r>
            <a:r>
              <a:rPr lang="en-US" sz="3600" i="0" kern="1200" dirty="0" err="1">
                <a:solidFill>
                  <a:schemeClr val="tx1"/>
                </a:solidFill>
                <a:effectLst/>
                <a:latin typeface="Myriad Pro Semibold"/>
                <a:ea typeface="+mj-ea"/>
                <a:cs typeface="+mj-cs"/>
              </a:rPr>
              <a:t>tarvitaan</a:t>
            </a:r>
            <a:r>
              <a:rPr lang="en-US" sz="3600" i="0" kern="1200" dirty="0">
                <a:solidFill>
                  <a:schemeClr val="tx1"/>
                </a:solidFill>
                <a:effectLst/>
                <a:latin typeface="Myriad Pro Semibold"/>
                <a:ea typeface="+mj-ea"/>
                <a:cs typeface="+mj-cs"/>
              </a:rPr>
              <a:t> </a:t>
            </a:r>
            <a:r>
              <a:rPr lang="en-US" sz="3600" i="0" kern="1200" dirty="0" err="1">
                <a:solidFill>
                  <a:schemeClr val="tx1"/>
                </a:solidFill>
                <a:effectLst/>
                <a:latin typeface="Myriad Pro Semibold"/>
                <a:ea typeface="+mj-ea"/>
                <a:cs typeface="+mj-cs"/>
              </a:rPr>
              <a:t>happea</a:t>
            </a:r>
            <a:endParaRPr lang="en-US" sz="3600" kern="1200" dirty="0">
              <a:solidFill>
                <a:schemeClr val="tx1"/>
              </a:solidFill>
              <a:latin typeface="Myriad Pro Semibold"/>
              <a:ea typeface="+mj-ea"/>
              <a:cs typeface="+mj-cs"/>
            </a:endParaRPr>
          </a:p>
        </p:txBody>
      </p:sp>
      <p:pic>
        <p:nvPicPr>
          <p:cNvPr id="6" name="Kuva 5">
            <a:extLst>
              <a:ext uri="{FF2B5EF4-FFF2-40B4-BE49-F238E27FC236}">
                <a16:creationId xmlns:a16="http://schemas.microsoft.com/office/drawing/2014/main" id="{9D1B725A-9F7F-4A5F-A8A5-52289C013BBA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5209514" y="2061148"/>
            <a:ext cx="6973368" cy="2194025"/>
          </a:xfrm>
          <a:prstGeom prst="rect">
            <a:avLst/>
          </a:prstGeom>
        </p:spPr>
      </p:pic>
      <p:sp>
        <p:nvSpPr>
          <p:cNvPr id="3" name="Tekstiruutu 2">
            <a:extLst>
              <a:ext uri="{FF2B5EF4-FFF2-40B4-BE49-F238E27FC236}">
                <a16:creationId xmlns:a16="http://schemas.microsoft.com/office/drawing/2014/main" id="{F11D86D1-2E03-42E9-A372-AD660C7DB75E}"/>
              </a:ext>
            </a:extLst>
          </p:cNvPr>
          <p:cNvSpPr txBox="1"/>
          <p:nvPr/>
        </p:nvSpPr>
        <p:spPr>
          <a:xfrm>
            <a:off x="1322754" y="1522820"/>
            <a:ext cx="2748041" cy="360191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endParaRPr lang="en-US" sz="3600" kern="1200" dirty="0">
              <a:solidFill>
                <a:srgbClr val="FFFFFF"/>
              </a:solidFill>
              <a:latin typeface="+mj-lt"/>
              <a:ea typeface="+mj-ea"/>
              <a:cs typeface="+mj-cs"/>
            </a:endParaRPr>
          </a:p>
        </p:txBody>
      </p:sp>
      <p:pic>
        <p:nvPicPr>
          <p:cNvPr id="4" name="Kuva 3">
            <a:extLst>
              <a:ext uri="{FF2B5EF4-FFF2-40B4-BE49-F238E27FC236}">
                <a16:creationId xmlns:a16="http://schemas.microsoft.com/office/drawing/2014/main" id="{DFAA2138-5CF7-4889-ACC3-41F434DA99C7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1073494" y="6261944"/>
            <a:ext cx="1115457" cy="515455"/>
          </a:xfrm>
          <a:prstGeom prst="rect">
            <a:avLst/>
          </a:prstGeom>
        </p:spPr>
      </p:pic>
      <p:graphicFrame>
        <p:nvGraphicFramePr>
          <p:cNvPr id="8" name="Tekstiruutu 5">
            <a:extLst>
              <a:ext uri="{FF2B5EF4-FFF2-40B4-BE49-F238E27FC236}">
                <a16:creationId xmlns:a16="http://schemas.microsoft.com/office/drawing/2014/main" id="{B936F7B1-E20A-3AF0-9D08-1FF57680278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832342349"/>
              </p:ext>
            </p:extLst>
          </p:nvPr>
        </p:nvGraphicFramePr>
        <p:xfrm>
          <a:off x="862366" y="2194102"/>
          <a:ext cx="3484782" cy="390858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pic>
        <p:nvPicPr>
          <p:cNvPr id="5" name="Kuva 4">
            <a:extLst>
              <a:ext uri="{FF2B5EF4-FFF2-40B4-BE49-F238E27FC236}">
                <a16:creationId xmlns:a16="http://schemas.microsoft.com/office/drawing/2014/main" id="{E3B9501E-8B2F-48F9-9B9D-C01681388980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5393549" y="4467898"/>
            <a:ext cx="6535513" cy="12155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402572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66" name="Rectangle 65">
            <a:extLst>
              <a:ext uri="{FF2B5EF4-FFF2-40B4-BE49-F238E27FC236}">
                <a16:creationId xmlns:a16="http://schemas.microsoft.com/office/drawing/2014/main" id="{F821940F-7A1D-4ACC-85B4-A932898ABB3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8" name="Freeform: Shape 67">
            <a:extLst>
              <a:ext uri="{FF2B5EF4-FFF2-40B4-BE49-F238E27FC236}">
                <a16:creationId xmlns:a16="http://schemas.microsoft.com/office/drawing/2014/main" id="{16674508-81D3-48CF-96BF-7FC60EAA572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6741994" cy="6858000"/>
          </a:xfrm>
          <a:custGeom>
            <a:avLst/>
            <a:gdLst>
              <a:gd name="connsiteX0" fmla="*/ 0 w 6568309"/>
              <a:gd name="connsiteY0" fmla="*/ 0 h 6858000"/>
              <a:gd name="connsiteX1" fmla="*/ 362841 w 6568309"/>
              <a:gd name="connsiteY1" fmla="*/ 0 h 6858000"/>
              <a:gd name="connsiteX2" fmla="*/ 523269 w 6568309"/>
              <a:gd name="connsiteY2" fmla="*/ 0 h 6858000"/>
              <a:gd name="connsiteX3" fmla="*/ 1343025 w 6568309"/>
              <a:gd name="connsiteY3" fmla="*/ 0 h 6858000"/>
              <a:gd name="connsiteX4" fmla="*/ 1705866 w 6568309"/>
              <a:gd name="connsiteY4" fmla="*/ 0 h 6858000"/>
              <a:gd name="connsiteX5" fmla="*/ 1866294 w 6568309"/>
              <a:gd name="connsiteY5" fmla="*/ 0 h 6858000"/>
              <a:gd name="connsiteX6" fmla="*/ 5225154 w 6568309"/>
              <a:gd name="connsiteY6" fmla="*/ 0 h 6858000"/>
              <a:gd name="connsiteX7" fmla="*/ 6568179 w 6568309"/>
              <a:gd name="connsiteY7" fmla="*/ 0 h 6858000"/>
              <a:gd name="connsiteX8" fmla="*/ 6568309 w 6568309"/>
              <a:gd name="connsiteY8" fmla="*/ 1 h 6858000"/>
              <a:gd name="connsiteX9" fmla="*/ 6562951 w 6568309"/>
              <a:gd name="connsiteY9" fmla="*/ 30700 h 6858000"/>
              <a:gd name="connsiteX10" fmla="*/ 6547446 w 6568309"/>
              <a:gd name="connsiteY10" fmla="*/ 310025 h 6858000"/>
              <a:gd name="connsiteX11" fmla="*/ 6558316 w 6568309"/>
              <a:gd name="connsiteY11" fmla="*/ 443960 h 6858000"/>
              <a:gd name="connsiteX12" fmla="*/ 6528896 w 6568309"/>
              <a:gd name="connsiteY12" fmla="*/ 642659 h 6858000"/>
              <a:gd name="connsiteX13" fmla="*/ 6523095 w 6568309"/>
              <a:gd name="connsiteY13" fmla="*/ 673307 h 6858000"/>
              <a:gd name="connsiteX14" fmla="*/ 6496169 w 6568309"/>
              <a:gd name="connsiteY14" fmla="*/ 839641 h 6858000"/>
              <a:gd name="connsiteX15" fmla="*/ 6450789 w 6568309"/>
              <a:gd name="connsiteY15" fmla="*/ 958357 h 6858000"/>
              <a:gd name="connsiteX16" fmla="*/ 6453996 w 6568309"/>
              <a:gd name="connsiteY16" fmla="*/ 963398 h 6858000"/>
              <a:gd name="connsiteX17" fmla="*/ 6419467 w 6568309"/>
              <a:gd name="connsiteY17" fmla="*/ 1117169 h 6858000"/>
              <a:gd name="connsiteX18" fmla="*/ 6417348 w 6568309"/>
              <a:gd name="connsiteY18" fmla="*/ 1144352 h 6858000"/>
              <a:gd name="connsiteX19" fmla="*/ 6418473 w 6568309"/>
              <a:gd name="connsiteY19" fmla="*/ 1164484 h 6858000"/>
              <a:gd name="connsiteX20" fmla="*/ 6406979 w 6568309"/>
              <a:gd name="connsiteY20" fmla="*/ 1213829 h 6858000"/>
              <a:gd name="connsiteX21" fmla="*/ 6381928 w 6568309"/>
              <a:gd name="connsiteY21" fmla="*/ 1294823 h 6858000"/>
              <a:gd name="connsiteX22" fmla="*/ 6377948 w 6568309"/>
              <a:gd name="connsiteY22" fmla="*/ 1312193 h 6858000"/>
              <a:gd name="connsiteX23" fmla="*/ 6379894 w 6568309"/>
              <a:gd name="connsiteY23" fmla="*/ 1327626 h 6858000"/>
              <a:gd name="connsiteX24" fmla="*/ 6385024 w 6568309"/>
              <a:gd name="connsiteY24" fmla="*/ 1331644 h 6858000"/>
              <a:gd name="connsiteX25" fmla="*/ 6383696 w 6568309"/>
              <a:gd name="connsiteY25" fmla="*/ 1341276 h 6858000"/>
              <a:gd name="connsiteX26" fmla="*/ 6384464 w 6568309"/>
              <a:gd name="connsiteY26" fmla="*/ 1343945 h 6858000"/>
              <a:gd name="connsiteX27" fmla="*/ 6387748 w 6568309"/>
              <a:gd name="connsiteY27" fmla="*/ 1359134 h 6858000"/>
              <a:gd name="connsiteX28" fmla="*/ 6364157 w 6568309"/>
              <a:gd name="connsiteY28" fmla="*/ 1427803 h 6858000"/>
              <a:gd name="connsiteX29" fmla="*/ 6335874 w 6568309"/>
              <a:gd name="connsiteY29" fmla="*/ 1540278 h 6858000"/>
              <a:gd name="connsiteX30" fmla="*/ 6331892 w 6568309"/>
              <a:gd name="connsiteY30" fmla="*/ 1547262 h 6858000"/>
              <a:gd name="connsiteX31" fmla="*/ 6332744 w 6568309"/>
              <a:gd name="connsiteY31" fmla="*/ 1577056 h 6858000"/>
              <a:gd name="connsiteX32" fmla="*/ 6333604 w 6568309"/>
              <a:gd name="connsiteY32" fmla="*/ 1595898 h 6858000"/>
              <a:gd name="connsiteX33" fmla="*/ 6324749 w 6568309"/>
              <a:gd name="connsiteY33" fmla="*/ 1703726 h 6858000"/>
              <a:gd name="connsiteX34" fmla="*/ 6329594 w 6568309"/>
              <a:gd name="connsiteY34" fmla="*/ 1809535 h 6858000"/>
              <a:gd name="connsiteX35" fmla="*/ 6329062 w 6568309"/>
              <a:gd name="connsiteY35" fmla="*/ 2018310 h 6858000"/>
              <a:gd name="connsiteX36" fmla="*/ 6321735 w 6568309"/>
              <a:gd name="connsiteY36" fmla="*/ 2071355 h 6858000"/>
              <a:gd name="connsiteX37" fmla="*/ 6322678 w 6568309"/>
              <a:gd name="connsiteY37" fmla="*/ 2141166 h 6858000"/>
              <a:gd name="connsiteX38" fmla="*/ 6321340 w 6568309"/>
              <a:gd name="connsiteY38" fmla="*/ 2154548 h 6858000"/>
              <a:gd name="connsiteX39" fmla="*/ 6316582 w 6568309"/>
              <a:gd name="connsiteY39" fmla="*/ 2158153 h 6858000"/>
              <a:gd name="connsiteX40" fmla="*/ 6311428 w 6568309"/>
              <a:gd name="connsiteY40" fmla="*/ 2178174 h 6858000"/>
              <a:gd name="connsiteX41" fmla="*/ 6310192 w 6568309"/>
              <a:gd name="connsiteY41" fmla="*/ 2202858 h 6858000"/>
              <a:gd name="connsiteX42" fmla="*/ 6309211 w 6568309"/>
              <a:gd name="connsiteY42" fmla="*/ 2320214 h 6858000"/>
              <a:gd name="connsiteX43" fmla="*/ 6300151 w 6568309"/>
              <a:gd name="connsiteY43" fmla="*/ 2417011 h 6858000"/>
              <a:gd name="connsiteX44" fmla="*/ 6295176 w 6568309"/>
              <a:gd name="connsiteY44" fmla="*/ 2454207 h 6858000"/>
              <a:gd name="connsiteX45" fmla="*/ 6293727 w 6568309"/>
              <a:gd name="connsiteY45" fmla="*/ 2487203 h 6858000"/>
              <a:gd name="connsiteX46" fmla="*/ 6285477 w 6568309"/>
              <a:gd name="connsiteY46" fmla="*/ 2512282 h 6858000"/>
              <a:gd name="connsiteX47" fmla="*/ 6286205 w 6568309"/>
              <a:gd name="connsiteY47" fmla="*/ 2514318 h 6858000"/>
              <a:gd name="connsiteX48" fmla="*/ 6304629 w 6568309"/>
              <a:gd name="connsiteY48" fmla="*/ 2574334 h 6858000"/>
              <a:gd name="connsiteX49" fmla="*/ 6303842 w 6568309"/>
              <a:gd name="connsiteY49" fmla="*/ 2579877 h 6858000"/>
              <a:gd name="connsiteX50" fmla="*/ 6303953 w 6568309"/>
              <a:gd name="connsiteY50" fmla="*/ 2608928 h 6858000"/>
              <a:gd name="connsiteX51" fmla="*/ 6303530 w 6568309"/>
              <a:gd name="connsiteY51" fmla="*/ 2613111 h 6858000"/>
              <a:gd name="connsiteX52" fmla="*/ 6297474 w 6568309"/>
              <a:gd name="connsiteY52" fmla="*/ 2621996 h 6858000"/>
              <a:gd name="connsiteX53" fmla="*/ 6299263 w 6568309"/>
              <a:gd name="connsiteY53" fmla="*/ 2634265 h 6858000"/>
              <a:gd name="connsiteX54" fmla="*/ 6293065 w 6568309"/>
              <a:gd name="connsiteY54" fmla="*/ 2647237 h 6858000"/>
              <a:gd name="connsiteX55" fmla="*/ 6297496 w 6568309"/>
              <a:gd name="connsiteY55" fmla="*/ 2650786 h 6858000"/>
              <a:gd name="connsiteX56" fmla="*/ 6301708 w 6568309"/>
              <a:gd name="connsiteY56" fmla="*/ 2661993 h 6858000"/>
              <a:gd name="connsiteX57" fmla="*/ 6295884 w 6568309"/>
              <a:gd name="connsiteY57" fmla="*/ 2670949 h 6858000"/>
              <a:gd name="connsiteX58" fmla="*/ 6291714 w 6568309"/>
              <a:gd name="connsiteY58" fmla="*/ 2690255 h 6858000"/>
              <a:gd name="connsiteX59" fmla="*/ 6292327 w 6568309"/>
              <a:gd name="connsiteY59" fmla="*/ 2695683 h 6858000"/>
              <a:gd name="connsiteX60" fmla="*/ 6284410 w 6568309"/>
              <a:gd name="connsiteY60" fmla="*/ 2713964 h 6858000"/>
              <a:gd name="connsiteX61" fmla="*/ 6280410 w 6568309"/>
              <a:gd name="connsiteY61" fmla="*/ 2730175 h 6858000"/>
              <a:gd name="connsiteX62" fmla="*/ 6288082 w 6568309"/>
              <a:gd name="connsiteY62" fmla="*/ 2763497 h 6858000"/>
              <a:gd name="connsiteX63" fmla="*/ 6260924 w 6568309"/>
              <a:gd name="connsiteY63" fmla="*/ 3051539 h 6858000"/>
              <a:gd name="connsiteX64" fmla="*/ 6210151 w 6568309"/>
              <a:gd name="connsiteY64" fmla="*/ 3335396 h 6858000"/>
              <a:gd name="connsiteX65" fmla="*/ 6212034 w 6568309"/>
              <a:gd name="connsiteY65" fmla="*/ 3456509 h 6858000"/>
              <a:gd name="connsiteX66" fmla="*/ 6197490 w 6568309"/>
              <a:gd name="connsiteY66" fmla="*/ 3531827 h 6858000"/>
              <a:gd name="connsiteX67" fmla="*/ 6208018 w 6568309"/>
              <a:gd name="connsiteY67" fmla="*/ 3570877 h 6858000"/>
              <a:gd name="connsiteX68" fmla="*/ 6205920 w 6568309"/>
              <a:gd name="connsiteY68" fmla="*/ 3583849 h 6858000"/>
              <a:gd name="connsiteX69" fmla="*/ 6199616 w 6568309"/>
              <a:gd name="connsiteY69" fmla="*/ 3592763 h 6858000"/>
              <a:gd name="connsiteX70" fmla="*/ 6181288 w 6568309"/>
              <a:gd name="connsiteY70" fmla="*/ 3653485 h 6858000"/>
              <a:gd name="connsiteX71" fmla="*/ 6175963 w 6568309"/>
              <a:gd name="connsiteY71" fmla="*/ 3670528 h 6858000"/>
              <a:gd name="connsiteX72" fmla="*/ 6176722 w 6568309"/>
              <a:gd name="connsiteY72" fmla="*/ 3685990 h 6858000"/>
              <a:gd name="connsiteX73" fmla="*/ 6181549 w 6568309"/>
              <a:gd name="connsiteY73" fmla="*/ 3690283 h 6858000"/>
              <a:gd name="connsiteX74" fmla="*/ 6179476 w 6568309"/>
              <a:gd name="connsiteY74" fmla="*/ 3699787 h 6858000"/>
              <a:gd name="connsiteX75" fmla="*/ 6180040 w 6568309"/>
              <a:gd name="connsiteY75" fmla="*/ 3702486 h 6858000"/>
              <a:gd name="connsiteX76" fmla="*/ 6182155 w 6568309"/>
              <a:gd name="connsiteY76" fmla="*/ 3717784 h 6858000"/>
              <a:gd name="connsiteX77" fmla="*/ 6158980 w 6568309"/>
              <a:gd name="connsiteY77" fmla="*/ 3746229 h 6858000"/>
              <a:gd name="connsiteX78" fmla="*/ 6096049 w 6568309"/>
              <a:gd name="connsiteY78" fmla="*/ 3924910 h 6858000"/>
              <a:gd name="connsiteX79" fmla="*/ 6069712 w 6568309"/>
              <a:gd name="connsiteY79" fmla="*/ 3989353 h 6858000"/>
              <a:gd name="connsiteX80" fmla="*/ 6067330 w 6568309"/>
              <a:gd name="connsiteY80" fmla="*/ 4033899 h 6858000"/>
              <a:gd name="connsiteX81" fmla="*/ 6061081 w 6568309"/>
              <a:gd name="connsiteY81" fmla="*/ 4142250 h 6858000"/>
              <a:gd name="connsiteX82" fmla="*/ 6042858 w 6568309"/>
              <a:gd name="connsiteY82" fmla="*/ 4329442 h 6858000"/>
              <a:gd name="connsiteX83" fmla="*/ 6034182 w 6568309"/>
              <a:gd name="connsiteY83" fmla="*/ 4456184 h 6858000"/>
              <a:gd name="connsiteX84" fmla="*/ 6029178 w 6568309"/>
              <a:gd name="connsiteY84" fmla="*/ 4468478 h 6858000"/>
              <a:gd name="connsiteX85" fmla="*/ 6029974 w 6568309"/>
              <a:gd name="connsiteY85" fmla="*/ 4469862 h 6858000"/>
              <a:gd name="connsiteX86" fmla="*/ 6028340 w 6568309"/>
              <a:gd name="connsiteY86" fmla="*/ 4483797 h 6858000"/>
              <a:gd name="connsiteX87" fmla="*/ 6025168 w 6568309"/>
              <a:gd name="connsiteY87" fmla="*/ 4487091 h 6858000"/>
              <a:gd name="connsiteX88" fmla="*/ 6023164 w 6568309"/>
              <a:gd name="connsiteY88" fmla="*/ 4496728 h 6858000"/>
              <a:gd name="connsiteX89" fmla="*/ 6016839 w 6568309"/>
              <a:gd name="connsiteY89" fmla="*/ 4515918 h 6858000"/>
              <a:gd name="connsiteX90" fmla="*/ 6017886 w 6568309"/>
              <a:gd name="connsiteY90" fmla="*/ 4519316 h 6858000"/>
              <a:gd name="connsiteX91" fmla="*/ 6011819 w 6568309"/>
              <a:gd name="connsiteY91" fmla="*/ 4547957 h 6858000"/>
              <a:gd name="connsiteX92" fmla="*/ 6012791 w 6568309"/>
              <a:gd name="connsiteY92" fmla="*/ 4548262 h 6858000"/>
              <a:gd name="connsiteX93" fmla="*/ 6015703 w 6568309"/>
              <a:gd name="connsiteY93" fmla="*/ 4555939 h 6858000"/>
              <a:gd name="connsiteX94" fmla="*/ 6018854 w 6568309"/>
              <a:gd name="connsiteY94" fmla="*/ 4570815 h 6858000"/>
              <a:gd name="connsiteX95" fmla="*/ 6033000 w 6568309"/>
              <a:gd name="connsiteY95" fmla="*/ 4633846 h 6858000"/>
              <a:gd name="connsiteX96" fmla="*/ 6032325 w 6568309"/>
              <a:gd name="connsiteY96" fmla="*/ 4639816 h 6858000"/>
              <a:gd name="connsiteX97" fmla="*/ 6032549 w 6568309"/>
              <a:gd name="connsiteY97" fmla="*/ 4639923 h 6858000"/>
              <a:gd name="connsiteX98" fmla="*/ 6032309 w 6568309"/>
              <a:gd name="connsiteY98" fmla="*/ 4646192 h 6858000"/>
              <a:gd name="connsiteX99" fmla="*/ 6031095 w 6568309"/>
              <a:gd name="connsiteY99" fmla="*/ 4650706 h 6858000"/>
              <a:gd name="connsiteX100" fmla="*/ 6029786 w 6568309"/>
              <a:gd name="connsiteY100" fmla="*/ 4662290 h 6858000"/>
              <a:gd name="connsiteX101" fmla="*/ 6030911 w 6568309"/>
              <a:gd name="connsiteY101" fmla="*/ 4666180 h 6858000"/>
              <a:gd name="connsiteX102" fmla="*/ 6033630 w 6568309"/>
              <a:gd name="connsiteY102" fmla="*/ 4667585 h 6858000"/>
              <a:gd name="connsiteX103" fmla="*/ 6033189 w 6568309"/>
              <a:gd name="connsiteY103" fmla="*/ 4668660 h 6858000"/>
              <a:gd name="connsiteX104" fmla="*/ 6038764 w 6568309"/>
              <a:gd name="connsiteY104" fmla="*/ 4689807 h 6858000"/>
              <a:gd name="connsiteX105" fmla="*/ 6042217 w 6568309"/>
              <a:gd name="connsiteY105" fmla="*/ 4737890 h 6858000"/>
              <a:gd name="connsiteX106" fmla="*/ 6040543 w 6568309"/>
              <a:gd name="connsiteY106" fmla="*/ 4765657 h 6858000"/>
              <a:gd name="connsiteX107" fmla="*/ 6039956 w 6568309"/>
              <a:gd name="connsiteY107" fmla="*/ 4841463 h 6858000"/>
              <a:gd name="connsiteX108" fmla="*/ 6057123 w 6568309"/>
              <a:gd name="connsiteY108" fmla="*/ 4969863 h 6858000"/>
              <a:gd name="connsiteX109" fmla="*/ 6055039 w 6568309"/>
              <a:gd name="connsiteY109" fmla="*/ 4974028 h 6858000"/>
              <a:gd name="connsiteX110" fmla="*/ 6053462 w 6568309"/>
              <a:gd name="connsiteY110" fmla="*/ 4980318 h 6858000"/>
              <a:gd name="connsiteX111" fmla="*/ 6053643 w 6568309"/>
              <a:gd name="connsiteY111" fmla="*/ 4980501 h 6858000"/>
              <a:gd name="connsiteX112" fmla="*/ 6051733 w 6568309"/>
              <a:gd name="connsiteY112" fmla="*/ 4986338 h 6858000"/>
              <a:gd name="connsiteX113" fmla="*/ 6049602 w 6568309"/>
              <a:gd name="connsiteY113" fmla="*/ 4991296 h 6858000"/>
              <a:gd name="connsiteX114" fmla="*/ 6075165 w 6568309"/>
              <a:gd name="connsiteY114" fmla="*/ 5076895 h 6858000"/>
              <a:gd name="connsiteX115" fmla="*/ 6073751 w 6568309"/>
              <a:gd name="connsiteY115" fmla="*/ 5081568 h 6858000"/>
              <a:gd name="connsiteX116" fmla="*/ 6073150 w 6568309"/>
              <a:gd name="connsiteY116" fmla="*/ 5088173 h 6858000"/>
              <a:gd name="connsiteX117" fmla="*/ 6073355 w 6568309"/>
              <a:gd name="connsiteY117" fmla="*/ 5088300 h 6858000"/>
              <a:gd name="connsiteX118" fmla="*/ 6072362 w 6568309"/>
              <a:gd name="connsiteY118" fmla="*/ 5094558 h 6858000"/>
              <a:gd name="connsiteX119" fmla="*/ 6064726 w 6568309"/>
              <a:gd name="connsiteY119" fmla="*/ 5125620 h 6858000"/>
              <a:gd name="connsiteX120" fmla="*/ 6065415 w 6568309"/>
              <a:gd name="connsiteY120" fmla="*/ 5268004 h 6858000"/>
              <a:gd name="connsiteX121" fmla="*/ 6066081 w 6568309"/>
              <a:gd name="connsiteY121" fmla="*/ 5269530 h 6858000"/>
              <a:gd name="connsiteX122" fmla="*/ 6043407 w 6568309"/>
              <a:gd name="connsiteY122" fmla="*/ 5390941 h 6858000"/>
              <a:gd name="connsiteX123" fmla="*/ 6025377 w 6568309"/>
              <a:gd name="connsiteY123" fmla="*/ 5539927 h 6858000"/>
              <a:gd name="connsiteX124" fmla="*/ 6010052 w 6568309"/>
              <a:gd name="connsiteY124" fmla="*/ 5791594 h 6858000"/>
              <a:gd name="connsiteX125" fmla="*/ 5994220 w 6568309"/>
              <a:gd name="connsiteY125" fmla="*/ 5855206 h 6858000"/>
              <a:gd name="connsiteX126" fmla="*/ 5982580 w 6568309"/>
              <a:gd name="connsiteY126" fmla="*/ 5873582 h 6858000"/>
              <a:gd name="connsiteX127" fmla="*/ 5983608 w 6568309"/>
              <a:gd name="connsiteY127" fmla="*/ 5876037 h 6858000"/>
              <a:gd name="connsiteX128" fmla="*/ 5983535 w 6568309"/>
              <a:gd name="connsiteY128" fmla="*/ 5886534 h 6858000"/>
              <a:gd name="connsiteX129" fmla="*/ 5988737 w 6568309"/>
              <a:gd name="connsiteY129" fmla="*/ 5888644 h 6858000"/>
              <a:gd name="connsiteX130" fmla="*/ 5992371 w 6568309"/>
              <a:gd name="connsiteY130" fmla="*/ 5903832 h 6858000"/>
              <a:gd name="connsiteX131" fmla="*/ 5990780 w 6568309"/>
              <a:gd name="connsiteY131" fmla="*/ 5923391 h 6858000"/>
              <a:gd name="connsiteX132" fmla="*/ 5993870 w 6568309"/>
              <a:gd name="connsiteY132" fmla="*/ 6013205 h 6858000"/>
              <a:gd name="connsiteX133" fmla="*/ 5997673 w 6568309"/>
              <a:gd name="connsiteY133" fmla="*/ 6074018 h 6858000"/>
              <a:gd name="connsiteX134" fmla="*/ 6014840 w 6568309"/>
              <a:gd name="connsiteY134" fmla="*/ 6130837 h 6858000"/>
              <a:gd name="connsiteX135" fmla="*/ 6010704 w 6568309"/>
              <a:gd name="connsiteY135" fmla="*/ 6152982 h 6858000"/>
              <a:gd name="connsiteX136" fmla="*/ 6038294 w 6568309"/>
              <a:gd name="connsiteY136" fmla="*/ 6221100 h 6858000"/>
              <a:gd name="connsiteX137" fmla="*/ 6052331 w 6568309"/>
              <a:gd name="connsiteY137" fmla="*/ 6287550 h 6858000"/>
              <a:gd name="connsiteX138" fmla="*/ 6074143 w 6568309"/>
              <a:gd name="connsiteY138" fmla="*/ 6401595 h 6858000"/>
              <a:gd name="connsiteX139" fmla="*/ 6060199 w 6568309"/>
              <a:gd name="connsiteY139" fmla="*/ 6487110 h 6858000"/>
              <a:gd name="connsiteX140" fmla="*/ 6081156 w 6568309"/>
              <a:gd name="connsiteY140" fmla="*/ 6588589 h 6858000"/>
              <a:gd name="connsiteX141" fmla="*/ 6114944 w 6568309"/>
              <a:gd name="connsiteY141" fmla="*/ 6769963 h 6858000"/>
              <a:gd name="connsiteX142" fmla="*/ 6128950 w 6568309"/>
              <a:gd name="connsiteY142" fmla="*/ 6835814 h 6858000"/>
              <a:gd name="connsiteX143" fmla="*/ 6132536 w 6568309"/>
              <a:gd name="connsiteY143" fmla="*/ 6858000 h 6858000"/>
              <a:gd name="connsiteX144" fmla="*/ 4789511 w 6568309"/>
              <a:gd name="connsiteY144" fmla="*/ 6858000 h 6858000"/>
              <a:gd name="connsiteX145" fmla="*/ 1866294 w 6568309"/>
              <a:gd name="connsiteY145" fmla="*/ 6858000 h 6858000"/>
              <a:gd name="connsiteX146" fmla="*/ 1705866 w 6568309"/>
              <a:gd name="connsiteY146" fmla="*/ 6858000 h 6858000"/>
              <a:gd name="connsiteX147" fmla="*/ 1343025 w 6568309"/>
              <a:gd name="connsiteY147" fmla="*/ 6858000 h 6858000"/>
              <a:gd name="connsiteX148" fmla="*/ 523269 w 6568309"/>
              <a:gd name="connsiteY148" fmla="*/ 6858000 h 6858000"/>
              <a:gd name="connsiteX149" fmla="*/ 362841 w 6568309"/>
              <a:gd name="connsiteY149" fmla="*/ 6858000 h 6858000"/>
              <a:gd name="connsiteX150" fmla="*/ 0 w 6568309"/>
              <a:gd name="connsiteY150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</a:cxnLst>
            <a:rect l="l" t="t" r="r" b="b"/>
            <a:pathLst>
              <a:path w="6568309" h="6858000">
                <a:moveTo>
                  <a:pt x="0" y="0"/>
                </a:moveTo>
                <a:lnTo>
                  <a:pt x="362841" y="0"/>
                </a:lnTo>
                <a:lnTo>
                  <a:pt x="523269" y="0"/>
                </a:lnTo>
                <a:lnTo>
                  <a:pt x="1343025" y="0"/>
                </a:lnTo>
                <a:lnTo>
                  <a:pt x="1705866" y="0"/>
                </a:lnTo>
                <a:lnTo>
                  <a:pt x="1866294" y="0"/>
                </a:lnTo>
                <a:lnTo>
                  <a:pt x="5225154" y="0"/>
                </a:lnTo>
                <a:lnTo>
                  <a:pt x="6568179" y="0"/>
                </a:lnTo>
                <a:lnTo>
                  <a:pt x="6568309" y="1"/>
                </a:lnTo>
                <a:lnTo>
                  <a:pt x="6562951" y="30700"/>
                </a:lnTo>
                <a:cubicBezTo>
                  <a:pt x="6559126" y="84364"/>
                  <a:pt x="6548218" y="241149"/>
                  <a:pt x="6547446" y="310025"/>
                </a:cubicBezTo>
                <a:cubicBezTo>
                  <a:pt x="6550151" y="367544"/>
                  <a:pt x="6557712" y="408251"/>
                  <a:pt x="6558316" y="443960"/>
                </a:cubicBezTo>
                <a:cubicBezTo>
                  <a:pt x="6555224" y="499397"/>
                  <a:pt x="6534767" y="604434"/>
                  <a:pt x="6528896" y="642659"/>
                </a:cubicBezTo>
                <a:cubicBezTo>
                  <a:pt x="6535204" y="657287"/>
                  <a:pt x="6515365" y="658191"/>
                  <a:pt x="6523095" y="673307"/>
                </a:cubicBezTo>
                <a:cubicBezTo>
                  <a:pt x="6523388" y="693769"/>
                  <a:pt x="6506868" y="797295"/>
                  <a:pt x="6496169" y="839641"/>
                </a:cubicBezTo>
                <a:cubicBezTo>
                  <a:pt x="6484119" y="887148"/>
                  <a:pt x="6457817" y="937731"/>
                  <a:pt x="6450789" y="958357"/>
                </a:cubicBezTo>
                <a:cubicBezTo>
                  <a:pt x="6443760" y="978983"/>
                  <a:pt x="6459217" y="936930"/>
                  <a:pt x="6453996" y="963398"/>
                </a:cubicBezTo>
                <a:cubicBezTo>
                  <a:pt x="6448777" y="989867"/>
                  <a:pt x="6425575" y="1087010"/>
                  <a:pt x="6419467" y="1117169"/>
                </a:cubicBezTo>
                <a:cubicBezTo>
                  <a:pt x="6431540" y="1118586"/>
                  <a:pt x="6409651" y="1135372"/>
                  <a:pt x="6417348" y="1144352"/>
                </a:cubicBezTo>
                <a:cubicBezTo>
                  <a:pt x="6424109" y="1150681"/>
                  <a:pt x="6419047" y="1157251"/>
                  <a:pt x="6418473" y="1164484"/>
                </a:cubicBezTo>
                <a:cubicBezTo>
                  <a:pt x="6423767" y="1173524"/>
                  <a:pt x="6413947" y="1205209"/>
                  <a:pt x="6406979" y="1213829"/>
                </a:cubicBezTo>
                <a:cubicBezTo>
                  <a:pt x="6382818" y="1235037"/>
                  <a:pt x="6400452" y="1277327"/>
                  <a:pt x="6381928" y="1294823"/>
                </a:cubicBezTo>
                <a:cubicBezTo>
                  <a:pt x="6379195" y="1300845"/>
                  <a:pt x="6378069" y="1306615"/>
                  <a:pt x="6377948" y="1312193"/>
                </a:cubicBezTo>
                <a:lnTo>
                  <a:pt x="6379894" y="1327626"/>
                </a:lnTo>
                <a:lnTo>
                  <a:pt x="6385024" y="1331644"/>
                </a:lnTo>
                <a:lnTo>
                  <a:pt x="6383696" y="1341276"/>
                </a:lnTo>
                <a:cubicBezTo>
                  <a:pt x="6383952" y="1342166"/>
                  <a:pt x="6384208" y="1343055"/>
                  <a:pt x="6384464" y="1343945"/>
                </a:cubicBezTo>
                <a:cubicBezTo>
                  <a:pt x="6385957" y="1349040"/>
                  <a:pt x="6387253" y="1354080"/>
                  <a:pt x="6387748" y="1359134"/>
                </a:cubicBezTo>
                <a:cubicBezTo>
                  <a:pt x="6384363" y="1373109"/>
                  <a:pt x="6372802" y="1397612"/>
                  <a:pt x="6364157" y="1427803"/>
                </a:cubicBezTo>
                <a:cubicBezTo>
                  <a:pt x="6348141" y="1460349"/>
                  <a:pt x="6348362" y="1505076"/>
                  <a:pt x="6335874" y="1540278"/>
                </a:cubicBezTo>
                <a:lnTo>
                  <a:pt x="6331892" y="1547262"/>
                </a:lnTo>
                <a:lnTo>
                  <a:pt x="6332744" y="1577056"/>
                </a:lnTo>
                <a:cubicBezTo>
                  <a:pt x="6335859" y="1582205"/>
                  <a:pt x="6336674" y="1589568"/>
                  <a:pt x="6333604" y="1595898"/>
                </a:cubicBezTo>
                <a:lnTo>
                  <a:pt x="6324749" y="1703726"/>
                </a:lnTo>
                <a:cubicBezTo>
                  <a:pt x="6324080" y="1739332"/>
                  <a:pt x="6318019" y="1754453"/>
                  <a:pt x="6329594" y="1809535"/>
                </a:cubicBezTo>
                <a:cubicBezTo>
                  <a:pt x="6344930" y="1868036"/>
                  <a:pt x="6323725" y="1952670"/>
                  <a:pt x="6329062" y="2018310"/>
                </a:cubicBezTo>
                <a:cubicBezTo>
                  <a:pt x="6308075" y="2053162"/>
                  <a:pt x="6326925" y="2034561"/>
                  <a:pt x="6321735" y="2071355"/>
                </a:cubicBezTo>
                <a:lnTo>
                  <a:pt x="6322678" y="2141166"/>
                </a:lnTo>
                <a:lnTo>
                  <a:pt x="6321340" y="2154548"/>
                </a:lnTo>
                <a:lnTo>
                  <a:pt x="6316582" y="2158153"/>
                </a:lnTo>
                <a:lnTo>
                  <a:pt x="6311428" y="2178174"/>
                </a:lnTo>
                <a:cubicBezTo>
                  <a:pt x="6310177" y="2185696"/>
                  <a:pt x="6309622" y="2193828"/>
                  <a:pt x="6310192" y="2202858"/>
                </a:cubicBezTo>
                <a:cubicBezTo>
                  <a:pt x="6319667" y="2232772"/>
                  <a:pt x="6296459" y="2283357"/>
                  <a:pt x="6309211" y="2320214"/>
                </a:cubicBezTo>
                <a:cubicBezTo>
                  <a:pt x="6307537" y="2355906"/>
                  <a:pt x="6302490" y="2394678"/>
                  <a:pt x="6300151" y="2417011"/>
                </a:cubicBezTo>
                <a:cubicBezTo>
                  <a:pt x="6292303" y="2426377"/>
                  <a:pt x="6304439" y="2456509"/>
                  <a:pt x="6295176" y="2454207"/>
                </a:cubicBezTo>
                <a:cubicBezTo>
                  <a:pt x="6299335" y="2464947"/>
                  <a:pt x="6297305" y="2476105"/>
                  <a:pt x="6293727" y="2487203"/>
                </a:cubicBezTo>
                <a:lnTo>
                  <a:pt x="6285477" y="2512282"/>
                </a:lnTo>
                <a:cubicBezTo>
                  <a:pt x="6285720" y="2512961"/>
                  <a:pt x="6285962" y="2513640"/>
                  <a:pt x="6286205" y="2514318"/>
                </a:cubicBezTo>
                <a:cubicBezTo>
                  <a:pt x="6292347" y="2534324"/>
                  <a:pt x="6298487" y="2554328"/>
                  <a:pt x="6304629" y="2574334"/>
                </a:cubicBezTo>
                <a:lnTo>
                  <a:pt x="6303842" y="2579877"/>
                </a:lnTo>
                <a:cubicBezTo>
                  <a:pt x="6303729" y="2585644"/>
                  <a:pt x="6304006" y="2603388"/>
                  <a:pt x="6303953" y="2608928"/>
                </a:cubicBezTo>
                <a:lnTo>
                  <a:pt x="6303530" y="2613111"/>
                </a:lnTo>
                <a:lnTo>
                  <a:pt x="6297474" y="2621996"/>
                </a:lnTo>
                <a:lnTo>
                  <a:pt x="6299263" y="2634265"/>
                </a:lnTo>
                <a:lnTo>
                  <a:pt x="6293065" y="2647237"/>
                </a:lnTo>
                <a:cubicBezTo>
                  <a:pt x="6294685" y="2648158"/>
                  <a:pt x="6296180" y="2649356"/>
                  <a:pt x="6297496" y="2650786"/>
                </a:cubicBezTo>
                <a:lnTo>
                  <a:pt x="6301708" y="2661993"/>
                </a:lnTo>
                <a:lnTo>
                  <a:pt x="6295884" y="2670949"/>
                </a:lnTo>
                <a:cubicBezTo>
                  <a:pt x="6304913" y="2672007"/>
                  <a:pt x="6294429" y="2681695"/>
                  <a:pt x="6291714" y="2690255"/>
                </a:cubicBezTo>
                <a:lnTo>
                  <a:pt x="6292327" y="2695683"/>
                </a:lnTo>
                <a:lnTo>
                  <a:pt x="6284410" y="2713964"/>
                </a:lnTo>
                <a:lnTo>
                  <a:pt x="6280410" y="2730175"/>
                </a:lnTo>
                <a:lnTo>
                  <a:pt x="6288082" y="2763497"/>
                </a:lnTo>
                <a:lnTo>
                  <a:pt x="6260924" y="3051539"/>
                </a:lnTo>
                <a:cubicBezTo>
                  <a:pt x="6251455" y="3165645"/>
                  <a:pt x="6222174" y="3216611"/>
                  <a:pt x="6210151" y="3335396"/>
                </a:cubicBezTo>
                <a:lnTo>
                  <a:pt x="6212034" y="3456509"/>
                </a:lnTo>
                <a:lnTo>
                  <a:pt x="6197490" y="3531827"/>
                </a:lnTo>
                <a:lnTo>
                  <a:pt x="6208018" y="3570877"/>
                </a:lnTo>
                <a:lnTo>
                  <a:pt x="6205920" y="3583849"/>
                </a:lnTo>
                <a:lnTo>
                  <a:pt x="6199616" y="3592763"/>
                </a:lnTo>
                <a:cubicBezTo>
                  <a:pt x="6191839" y="3613948"/>
                  <a:pt x="6196204" y="3641245"/>
                  <a:pt x="6181288" y="3653485"/>
                </a:cubicBezTo>
                <a:cubicBezTo>
                  <a:pt x="6178087" y="3659316"/>
                  <a:pt x="6176516" y="3664985"/>
                  <a:pt x="6175963" y="3670528"/>
                </a:cubicBezTo>
                <a:lnTo>
                  <a:pt x="6176722" y="3685990"/>
                </a:lnTo>
                <a:lnTo>
                  <a:pt x="6181549" y="3690283"/>
                </a:lnTo>
                <a:lnTo>
                  <a:pt x="6179476" y="3699787"/>
                </a:lnTo>
                <a:cubicBezTo>
                  <a:pt x="6179664" y="3700686"/>
                  <a:pt x="6179852" y="3701586"/>
                  <a:pt x="6180040" y="3702486"/>
                </a:cubicBezTo>
                <a:cubicBezTo>
                  <a:pt x="6181140" y="3707637"/>
                  <a:pt x="6182047" y="3712728"/>
                  <a:pt x="6182155" y="3717784"/>
                </a:cubicBezTo>
                <a:cubicBezTo>
                  <a:pt x="6156678" y="3711701"/>
                  <a:pt x="6178864" y="3759789"/>
                  <a:pt x="6158980" y="3746229"/>
                </a:cubicBezTo>
                <a:cubicBezTo>
                  <a:pt x="6144630" y="3780750"/>
                  <a:pt x="6117520" y="3867558"/>
                  <a:pt x="6096049" y="3924910"/>
                </a:cubicBezTo>
                <a:lnTo>
                  <a:pt x="6069712" y="3989353"/>
                </a:lnTo>
                <a:lnTo>
                  <a:pt x="6067330" y="4033899"/>
                </a:lnTo>
                <a:cubicBezTo>
                  <a:pt x="6065506" y="4070470"/>
                  <a:pt x="6063599" y="4110146"/>
                  <a:pt x="6061081" y="4142250"/>
                </a:cubicBezTo>
                <a:cubicBezTo>
                  <a:pt x="6055260" y="4200007"/>
                  <a:pt x="6045907" y="4278998"/>
                  <a:pt x="6042858" y="4329442"/>
                </a:cubicBezTo>
                <a:cubicBezTo>
                  <a:pt x="6038376" y="4381764"/>
                  <a:pt x="6036461" y="4433012"/>
                  <a:pt x="6034182" y="4456184"/>
                </a:cubicBezTo>
                <a:lnTo>
                  <a:pt x="6029178" y="4468478"/>
                </a:lnTo>
                <a:lnTo>
                  <a:pt x="6029974" y="4469862"/>
                </a:lnTo>
                <a:cubicBezTo>
                  <a:pt x="6031287" y="4476321"/>
                  <a:pt x="6030316" y="4480555"/>
                  <a:pt x="6028340" y="4483797"/>
                </a:cubicBezTo>
                <a:lnTo>
                  <a:pt x="6025168" y="4487091"/>
                </a:lnTo>
                <a:lnTo>
                  <a:pt x="6023164" y="4496728"/>
                </a:lnTo>
                <a:lnTo>
                  <a:pt x="6016839" y="4515918"/>
                </a:lnTo>
                <a:cubicBezTo>
                  <a:pt x="6017189" y="4517049"/>
                  <a:pt x="6017537" y="4518182"/>
                  <a:pt x="6017886" y="4519316"/>
                </a:cubicBezTo>
                <a:lnTo>
                  <a:pt x="6011819" y="4547957"/>
                </a:lnTo>
                <a:lnTo>
                  <a:pt x="6012791" y="4548262"/>
                </a:lnTo>
                <a:cubicBezTo>
                  <a:pt x="6014837" y="4549595"/>
                  <a:pt x="6016087" y="4551811"/>
                  <a:pt x="6015703" y="4555939"/>
                </a:cubicBezTo>
                <a:cubicBezTo>
                  <a:pt x="6031790" y="4548276"/>
                  <a:pt x="6021405" y="4557977"/>
                  <a:pt x="6018854" y="4570815"/>
                </a:cubicBezTo>
                <a:cubicBezTo>
                  <a:pt x="6021736" y="4583801"/>
                  <a:pt x="6030754" y="4622347"/>
                  <a:pt x="6033000" y="4633846"/>
                </a:cubicBezTo>
                <a:lnTo>
                  <a:pt x="6032325" y="4639816"/>
                </a:lnTo>
                <a:lnTo>
                  <a:pt x="6032549" y="4639923"/>
                </a:lnTo>
                <a:cubicBezTo>
                  <a:pt x="6032911" y="4641190"/>
                  <a:pt x="6032878" y="4643141"/>
                  <a:pt x="6032309" y="4646192"/>
                </a:cubicBezTo>
                <a:lnTo>
                  <a:pt x="6031095" y="4650706"/>
                </a:lnTo>
                <a:lnTo>
                  <a:pt x="6029786" y="4662290"/>
                </a:lnTo>
                <a:cubicBezTo>
                  <a:pt x="6030161" y="4663587"/>
                  <a:pt x="6030536" y="4664883"/>
                  <a:pt x="6030911" y="4666180"/>
                </a:cubicBezTo>
                <a:lnTo>
                  <a:pt x="6033630" y="4667585"/>
                </a:lnTo>
                <a:lnTo>
                  <a:pt x="6033189" y="4668660"/>
                </a:lnTo>
                <a:cubicBezTo>
                  <a:pt x="6027286" y="4676831"/>
                  <a:pt x="6019767" y="4679345"/>
                  <a:pt x="6038764" y="4689807"/>
                </a:cubicBezTo>
                <a:cubicBezTo>
                  <a:pt x="6028616" y="4708535"/>
                  <a:pt x="6040474" y="4712235"/>
                  <a:pt x="6042217" y="4737890"/>
                </a:cubicBezTo>
                <a:cubicBezTo>
                  <a:pt x="6033362" y="4748600"/>
                  <a:pt x="6035273" y="4757223"/>
                  <a:pt x="6040543" y="4765657"/>
                </a:cubicBezTo>
                <a:cubicBezTo>
                  <a:pt x="6034416" y="4790618"/>
                  <a:pt x="6040696" y="4813399"/>
                  <a:pt x="6039956" y="4841463"/>
                </a:cubicBezTo>
                <a:lnTo>
                  <a:pt x="6057123" y="4969863"/>
                </a:lnTo>
                <a:lnTo>
                  <a:pt x="6055039" y="4974028"/>
                </a:lnTo>
                <a:cubicBezTo>
                  <a:pt x="6053860" y="4976933"/>
                  <a:pt x="6053409" y="4978909"/>
                  <a:pt x="6053462" y="4980318"/>
                </a:cubicBezTo>
                <a:lnTo>
                  <a:pt x="6053643" y="4980501"/>
                </a:lnTo>
                <a:lnTo>
                  <a:pt x="6051733" y="4986338"/>
                </a:lnTo>
                <a:lnTo>
                  <a:pt x="6049602" y="4991296"/>
                </a:lnTo>
                <a:cubicBezTo>
                  <a:pt x="6058123" y="5019829"/>
                  <a:pt x="6066643" y="5048361"/>
                  <a:pt x="6075165" y="5076895"/>
                </a:cubicBezTo>
                <a:lnTo>
                  <a:pt x="6073751" y="5081568"/>
                </a:lnTo>
                <a:cubicBezTo>
                  <a:pt x="6073034" y="5084748"/>
                  <a:pt x="6072888" y="5086810"/>
                  <a:pt x="6073150" y="5088173"/>
                </a:cubicBezTo>
                <a:lnTo>
                  <a:pt x="6073355" y="5088300"/>
                </a:lnTo>
                <a:lnTo>
                  <a:pt x="6072362" y="5094558"/>
                </a:lnTo>
                <a:cubicBezTo>
                  <a:pt x="6070184" y="5105196"/>
                  <a:pt x="6067588" y="5115626"/>
                  <a:pt x="6064726" y="5125620"/>
                </a:cubicBezTo>
                <a:cubicBezTo>
                  <a:pt x="6063568" y="5154527"/>
                  <a:pt x="6065189" y="5244020"/>
                  <a:pt x="6065415" y="5268004"/>
                </a:cubicBezTo>
                <a:cubicBezTo>
                  <a:pt x="6065637" y="5268513"/>
                  <a:pt x="6065860" y="5269021"/>
                  <a:pt x="6066081" y="5269530"/>
                </a:cubicBezTo>
                <a:lnTo>
                  <a:pt x="6043407" y="5390941"/>
                </a:lnTo>
                <a:cubicBezTo>
                  <a:pt x="6032545" y="5438194"/>
                  <a:pt x="6020942" y="5465286"/>
                  <a:pt x="6025377" y="5539927"/>
                </a:cubicBezTo>
                <a:cubicBezTo>
                  <a:pt x="6019787" y="5610775"/>
                  <a:pt x="6013913" y="5740573"/>
                  <a:pt x="6010052" y="5791594"/>
                </a:cubicBezTo>
                <a:cubicBezTo>
                  <a:pt x="5989401" y="5787060"/>
                  <a:pt x="6018524" y="5849672"/>
                  <a:pt x="5994220" y="5855206"/>
                </a:cubicBezTo>
                <a:cubicBezTo>
                  <a:pt x="5995282" y="5860240"/>
                  <a:pt x="5980598" y="5868910"/>
                  <a:pt x="5982580" y="5873582"/>
                </a:cubicBezTo>
                <a:cubicBezTo>
                  <a:pt x="5982922" y="5874401"/>
                  <a:pt x="5983265" y="5875218"/>
                  <a:pt x="5983608" y="5876037"/>
                </a:cubicBezTo>
                <a:lnTo>
                  <a:pt x="5983535" y="5886534"/>
                </a:lnTo>
                <a:lnTo>
                  <a:pt x="5988737" y="5888644"/>
                </a:lnTo>
                <a:cubicBezTo>
                  <a:pt x="5989948" y="5893707"/>
                  <a:pt x="5991159" y="5898769"/>
                  <a:pt x="5992371" y="5903832"/>
                </a:cubicBezTo>
                <a:cubicBezTo>
                  <a:pt x="5992924" y="5909651"/>
                  <a:pt x="5992578" y="5916068"/>
                  <a:pt x="5990780" y="5923391"/>
                </a:cubicBezTo>
                <a:cubicBezTo>
                  <a:pt x="5975822" y="5948880"/>
                  <a:pt x="6013580" y="5981626"/>
                  <a:pt x="5993870" y="6013205"/>
                </a:cubicBezTo>
                <a:cubicBezTo>
                  <a:pt x="5988486" y="6024901"/>
                  <a:pt x="5991718" y="6066777"/>
                  <a:pt x="5997673" y="6074018"/>
                </a:cubicBezTo>
                <a:cubicBezTo>
                  <a:pt x="5998007" y="6081731"/>
                  <a:pt x="6007861" y="6126985"/>
                  <a:pt x="6014840" y="6130837"/>
                </a:cubicBezTo>
                <a:cubicBezTo>
                  <a:pt x="6022998" y="6137057"/>
                  <a:pt x="5999420" y="6156330"/>
                  <a:pt x="6010704" y="6152982"/>
                </a:cubicBezTo>
                <a:cubicBezTo>
                  <a:pt x="6008682" y="6186619"/>
                  <a:pt x="6039938" y="6191636"/>
                  <a:pt x="6038294" y="6221100"/>
                </a:cubicBezTo>
                <a:cubicBezTo>
                  <a:pt x="6039643" y="6222126"/>
                  <a:pt x="6046356" y="6257468"/>
                  <a:pt x="6052331" y="6287550"/>
                </a:cubicBezTo>
                <a:cubicBezTo>
                  <a:pt x="6058307" y="6317632"/>
                  <a:pt x="6082079" y="6391312"/>
                  <a:pt x="6074143" y="6401595"/>
                </a:cubicBezTo>
                <a:cubicBezTo>
                  <a:pt x="6074931" y="6423902"/>
                  <a:pt x="6059614" y="6432919"/>
                  <a:pt x="6060199" y="6487110"/>
                </a:cubicBezTo>
                <a:cubicBezTo>
                  <a:pt x="6075583" y="6574474"/>
                  <a:pt x="6076150" y="6553611"/>
                  <a:pt x="6081156" y="6588589"/>
                </a:cubicBezTo>
                <a:cubicBezTo>
                  <a:pt x="6102088" y="6637976"/>
                  <a:pt x="6067660" y="6687723"/>
                  <a:pt x="6114944" y="6769963"/>
                </a:cubicBezTo>
                <a:cubicBezTo>
                  <a:pt x="6130462" y="6819284"/>
                  <a:pt x="6119243" y="6817955"/>
                  <a:pt x="6128950" y="6835814"/>
                </a:cubicBezTo>
                <a:lnTo>
                  <a:pt x="6132536" y="6858000"/>
                </a:lnTo>
                <a:lnTo>
                  <a:pt x="4789511" y="6858000"/>
                </a:lnTo>
                <a:lnTo>
                  <a:pt x="1866294" y="6858000"/>
                </a:lnTo>
                <a:lnTo>
                  <a:pt x="1705866" y="6858000"/>
                </a:lnTo>
                <a:lnTo>
                  <a:pt x="1343025" y="6858000"/>
                </a:lnTo>
                <a:lnTo>
                  <a:pt x="523269" y="6858000"/>
                </a:lnTo>
                <a:lnTo>
                  <a:pt x="362841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82766A">
              <a:alpha val="1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0" name="Tekstiruutu 9">
            <a:extLst>
              <a:ext uri="{FF2B5EF4-FFF2-40B4-BE49-F238E27FC236}">
                <a16:creationId xmlns:a16="http://schemas.microsoft.com/office/drawing/2014/main" id="{0AA9639B-B7E2-44C5-9CA4-50187E024E5F}"/>
              </a:ext>
            </a:extLst>
          </p:cNvPr>
          <p:cNvSpPr txBox="1"/>
          <p:nvPr/>
        </p:nvSpPr>
        <p:spPr>
          <a:xfrm>
            <a:off x="978599" y="393028"/>
            <a:ext cx="4784796" cy="133084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en-US" sz="3600" i="0" kern="1200" dirty="0" err="1">
                <a:solidFill>
                  <a:schemeClr val="tx1"/>
                </a:solidFill>
                <a:effectLst/>
                <a:latin typeface="Myriad Pro Semibold"/>
                <a:ea typeface="+mj-ea"/>
                <a:cs typeface="+mj-cs"/>
              </a:rPr>
              <a:t>Soluhengityksessä</a:t>
            </a:r>
            <a:r>
              <a:rPr lang="en-US" sz="3600" i="0" kern="1200" dirty="0">
                <a:solidFill>
                  <a:schemeClr val="tx1"/>
                </a:solidFill>
                <a:effectLst/>
                <a:latin typeface="Myriad Pro Semibold"/>
                <a:ea typeface="+mj-ea"/>
                <a:cs typeface="+mj-cs"/>
              </a:rPr>
              <a:t> </a:t>
            </a:r>
            <a:br>
              <a:rPr lang="en-US" sz="3600" i="0" kern="1200" dirty="0">
                <a:solidFill>
                  <a:schemeClr val="tx1"/>
                </a:solidFill>
                <a:effectLst/>
                <a:latin typeface="Myriad Pro Semibold"/>
                <a:ea typeface="+mj-ea"/>
                <a:cs typeface="+mj-cs"/>
              </a:rPr>
            </a:br>
            <a:r>
              <a:rPr lang="en-US" sz="3600" i="0" kern="1200" dirty="0">
                <a:solidFill>
                  <a:schemeClr val="tx1"/>
                </a:solidFill>
                <a:effectLst/>
                <a:latin typeface="Myriad Pro Semibold"/>
                <a:ea typeface="+mj-ea"/>
                <a:cs typeface="+mj-cs"/>
              </a:rPr>
              <a:t>on </a:t>
            </a:r>
            <a:r>
              <a:rPr lang="en-US" sz="3600" i="0" kern="1200" dirty="0" err="1">
                <a:solidFill>
                  <a:schemeClr val="tx1"/>
                </a:solidFill>
                <a:effectLst/>
                <a:latin typeface="Myriad Pro Semibold"/>
                <a:ea typeface="+mj-ea"/>
                <a:cs typeface="+mj-cs"/>
              </a:rPr>
              <a:t>kolme</a:t>
            </a:r>
            <a:r>
              <a:rPr lang="en-US" sz="3600" i="0" kern="1200" dirty="0">
                <a:solidFill>
                  <a:schemeClr val="tx1"/>
                </a:solidFill>
                <a:effectLst/>
                <a:latin typeface="Myriad Pro Semibold"/>
                <a:ea typeface="+mj-ea"/>
                <a:cs typeface="+mj-cs"/>
              </a:rPr>
              <a:t> </a:t>
            </a:r>
            <a:r>
              <a:rPr lang="en-US" sz="3600" i="0" kern="1200" dirty="0" err="1">
                <a:solidFill>
                  <a:schemeClr val="tx1"/>
                </a:solidFill>
                <a:effectLst/>
                <a:latin typeface="Myriad Pro Semibold"/>
                <a:ea typeface="+mj-ea"/>
                <a:cs typeface="+mj-cs"/>
              </a:rPr>
              <a:t>vaihetta</a:t>
            </a:r>
            <a:endParaRPr lang="en-US" sz="3600" kern="1200" dirty="0">
              <a:solidFill>
                <a:schemeClr val="tx1"/>
              </a:solidFill>
              <a:latin typeface="Myriad Pro Semibold"/>
              <a:ea typeface="+mj-ea"/>
              <a:cs typeface="+mj-cs"/>
            </a:endParaRPr>
          </a:p>
        </p:txBody>
      </p:sp>
      <p:pic>
        <p:nvPicPr>
          <p:cNvPr id="6" name="Kuva 5">
            <a:extLst>
              <a:ext uri="{FF2B5EF4-FFF2-40B4-BE49-F238E27FC236}">
                <a16:creationId xmlns:a16="http://schemas.microsoft.com/office/drawing/2014/main" id="{9D1B725A-9F7F-4A5F-A8A5-52289C013BB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/>
        </p:blipFill>
        <p:spPr>
          <a:xfrm>
            <a:off x="7554307" y="717012"/>
            <a:ext cx="3390255" cy="5446191"/>
          </a:xfrm>
          <a:prstGeom prst="rect">
            <a:avLst/>
          </a:prstGeom>
        </p:spPr>
      </p:pic>
      <p:sp>
        <p:nvSpPr>
          <p:cNvPr id="3" name="Tekstiruutu 2">
            <a:extLst>
              <a:ext uri="{FF2B5EF4-FFF2-40B4-BE49-F238E27FC236}">
                <a16:creationId xmlns:a16="http://schemas.microsoft.com/office/drawing/2014/main" id="{F11D86D1-2E03-42E9-A372-AD660C7DB75E}"/>
              </a:ext>
            </a:extLst>
          </p:cNvPr>
          <p:cNvSpPr txBox="1"/>
          <p:nvPr/>
        </p:nvSpPr>
        <p:spPr>
          <a:xfrm>
            <a:off x="1322754" y="1522820"/>
            <a:ext cx="2748041" cy="360191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endParaRPr lang="en-US" sz="3600" kern="1200" dirty="0">
              <a:solidFill>
                <a:srgbClr val="FFFFFF"/>
              </a:solidFill>
              <a:latin typeface="+mj-lt"/>
              <a:ea typeface="+mj-ea"/>
              <a:cs typeface="+mj-cs"/>
            </a:endParaRPr>
          </a:p>
        </p:txBody>
      </p:sp>
      <p:pic>
        <p:nvPicPr>
          <p:cNvPr id="4" name="Kuva 3">
            <a:extLst>
              <a:ext uri="{FF2B5EF4-FFF2-40B4-BE49-F238E27FC236}">
                <a16:creationId xmlns:a16="http://schemas.microsoft.com/office/drawing/2014/main" id="{DFAA2138-5CF7-4889-ACC3-41F434DA99C7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1073494" y="6261944"/>
            <a:ext cx="1115457" cy="515455"/>
          </a:xfrm>
          <a:prstGeom prst="rect">
            <a:avLst/>
          </a:prstGeom>
        </p:spPr>
      </p:pic>
      <p:graphicFrame>
        <p:nvGraphicFramePr>
          <p:cNvPr id="8" name="Tekstiruutu 5">
            <a:extLst>
              <a:ext uri="{FF2B5EF4-FFF2-40B4-BE49-F238E27FC236}">
                <a16:creationId xmlns:a16="http://schemas.microsoft.com/office/drawing/2014/main" id="{B936F7B1-E20A-3AF0-9D08-1FF57680278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27165472"/>
              </p:ext>
            </p:extLst>
          </p:nvPr>
        </p:nvGraphicFramePr>
        <p:xfrm>
          <a:off x="674557" y="1731363"/>
          <a:ext cx="5421443" cy="517160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</p:spTree>
    <p:extLst>
      <p:ext uri="{BB962C8B-B14F-4D97-AF65-F5344CB8AC3E}">
        <p14:creationId xmlns:p14="http://schemas.microsoft.com/office/powerpoint/2010/main" val="314914595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i 5" hidden="1">
            <a:extLst>
              <a:ext uri="{FF2B5EF4-FFF2-40B4-BE49-F238E27FC236}">
                <a16:creationId xmlns:a16="http://schemas.microsoft.com/office/drawing/2014/main" id="{E1BF22A5-5A57-4AF6-B247-2D8B493D9B6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795375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6" name="Objekti 5" hidden="1">
                        <a:extLst>
                          <a:ext uri="{FF2B5EF4-FFF2-40B4-BE49-F238E27FC236}">
                            <a16:creationId xmlns:a16="http://schemas.microsoft.com/office/drawing/2014/main" id="{E1BF22A5-5A57-4AF6-B247-2D8B493D9B6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Otsikko 1"/>
          <p:cNvSpPr>
            <a:spLocks noGrp="1"/>
          </p:cNvSpPr>
          <p:nvPr>
            <p:ph type="title"/>
          </p:nvPr>
        </p:nvSpPr>
        <p:spPr/>
        <p:txBody>
          <a:bodyPr vert="horz">
            <a:normAutofit/>
          </a:bodyPr>
          <a:lstStyle/>
          <a:p>
            <a:pPr algn="ctr"/>
            <a:r>
              <a:rPr lang="fi-FI" sz="3600" dirty="0">
                <a:latin typeface="Myriad Pro Semibold" charset="0"/>
                <a:ea typeface="Myriad Pro Semibold" charset="0"/>
                <a:cs typeface="Myriad Pro Semibold" charset="0"/>
              </a:rPr>
              <a:t>Hapettomissa oloissa soluissa vapautuu energiaa </a:t>
            </a:r>
            <a:r>
              <a:rPr lang="fi-FI" sz="3600" dirty="0" err="1">
                <a:latin typeface="Myriad Pro Semibold" charset="0"/>
                <a:ea typeface="Myriad Pro Semibold" charset="0"/>
                <a:cs typeface="Myriad Pro Semibold" charset="0"/>
              </a:rPr>
              <a:t>käymisreaktioissa</a:t>
            </a:r>
            <a:endParaRPr lang="fi-FI" sz="3600" dirty="0"/>
          </a:p>
        </p:txBody>
      </p:sp>
      <p:graphicFrame>
        <p:nvGraphicFramePr>
          <p:cNvPr id="8" name="Sisällön paikkamerkki 7">
            <a:extLst>
              <a:ext uri="{FF2B5EF4-FFF2-40B4-BE49-F238E27FC236}">
                <a16:creationId xmlns:a16="http://schemas.microsoft.com/office/drawing/2014/main" id="{311B8604-8FEE-42BB-AF19-CDBE2DDB3F11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670726781"/>
              </p:ext>
            </p:extLst>
          </p:nvPr>
        </p:nvGraphicFramePr>
        <p:xfrm>
          <a:off x="838200" y="2027789"/>
          <a:ext cx="10515600" cy="389705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5" r:lo="rId6" r:qs="rId7" r:cs="rId8"/>
          </a:graphicData>
        </a:graphic>
      </p:graphicFrame>
      <p:pic>
        <p:nvPicPr>
          <p:cNvPr id="4" name="Kuva 3">
            <a:extLst>
              <a:ext uri="{FF2B5EF4-FFF2-40B4-BE49-F238E27FC236}">
                <a16:creationId xmlns:a16="http://schemas.microsoft.com/office/drawing/2014/main" id="{CF47ABF3-D808-437C-99C9-B7CE14174BFD}"/>
              </a:ext>
            </a:extLst>
          </p:cNvPr>
          <p:cNvPicPr>
            <a:picLocks noChangeAspect="1"/>
          </p:cNvPicPr>
          <p:nvPr/>
        </p:nvPicPr>
        <p:blipFill>
          <a:blip r:embed="rId10"/>
          <a:srcRect/>
          <a:stretch/>
        </p:blipFill>
        <p:spPr>
          <a:xfrm>
            <a:off x="11073494" y="6261944"/>
            <a:ext cx="1115457" cy="5154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6375044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5" name="Rectangle 14">
            <a:extLst>
              <a:ext uri="{FF2B5EF4-FFF2-40B4-BE49-F238E27FC236}">
                <a16:creationId xmlns:a16="http://schemas.microsoft.com/office/drawing/2014/main" id="{53F29798-D584-4792-9B62-3F5F5C36D61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Tekstiruutu 9">
            <a:extLst>
              <a:ext uri="{FF2B5EF4-FFF2-40B4-BE49-F238E27FC236}">
                <a16:creationId xmlns:a16="http://schemas.microsoft.com/office/drawing/2014/main" id="{0AA9639B-B7E2-44C5-9CA4-50187E024E5F}"/>
              </a:ext>
            </a:extLst>
          </p:cNvPr>
          <p:cNvSpPr txBox="1"/>
          <p:nvPr/>
        </p:nvSpPr>
        <p:spPr>
          <a:xfrm>
            <a:off x="838200" y="184805"/>
            <a:ext cx="10515600" cy="150588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en-US" sz="3600" i="0" kern="1200" dirty="0" err="1">
                <a:solidFill>
                  <a:schemeClr val="tx1"/>
                </a:solidFill>
                <a:effectLst/>
                <a:latin typeface="Myriad Pro Semibold"/>
                <a:ea typeface="+mj-ea"/>
                <a:cs typeface="+mj-cs"/>
              </a:rPr>
              <a:t>Alkoholikäyminen</a:t>
            </a:r>
            <a:endParaRPr lang="en-US" sz="3600" kern="1200" dirty="0">
              <a:solidFill>
                <a:schemeClr val="tx1"/>
              </a:solidFill>
              <a:latin typeface="Myriad Pro Semibold"/>
              <a:ea typeface="+mj-ea"/>
              <a:cs typeface="+mj-cs"/>
            </a:endParaRPr>
          </a:p>
        </p:txBody>
      </p:sp>
      <p:pic>
        <p:nvPicPr>
          <p:cNvPr id="6" name="Kuva 5">
            <a:extLst>
              <a:ext uri="{FF2B5EF4-FFF2-40B4-BE49-F238E27FC236}">
                <a16:creationId xmlns:a16="http://schemas.microsoft.com/office/drawing/2014/main" id="{9D1B725A-9F7F-4A5F-A8A5-52289C013BBA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3064080" y="1798204"/>
            <a:ext cx="6060786" cy="4354640"/>
          </a:xfrm>
          <a:prstGeom prst="rect">
            <a:avLst/>
          </a:prstGeom>
        </p:spPr>
      </p:pic>
      <p:sp>
        <p:nvSpPr>
          <p:cNvPr id="3" name="Tekstiruutu 2">
            <a:extLst>
              <a:ext uri="{FF2B5EF4-FFF2-40B4-BE49-F238E27FC236}">
                <a16:creationId xmlns:a16="http://schemas.microsoft.com/office/drawing/2014/main" id="{F11D86D1-2E03-42E9-A372-AD660C7DB75E}"/>
              </a:ext>
            </a:extLst>
          </p:cNvPr>
          <p:cNvSpPr txBox="1"/>
          <p:nvPr/>
        </p:nvSpPr>
        <p:spPr>
          <a:xfrm>
            <a:off x="1322754" y="1522820"/>
            <a:ext cx="2748041" cy="360191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endParaRPr lang="en-US" sz="3600" kern="1200" dirty="0">
              <a:solidFill>
                <a:srgbClr val="FFFFFF"/>
              </a:solidFill>
              <a:latin typeface="+mj-lt"/>
              <a:ea typeface="+mj-ea"/>
              <a:cs typeface="+mj-cs"/>
            </a:endParaRPr>
          </a:p>
        </p:txBody>
      </p:sp>
      <p:pic>
        <p:nvPicPr>
          <p:cNvPr id="4" name="Kuva 3">
            <a:extLst>
              <a:ext uri="{FF2B5EF4-FFF2-40B4-BE49-F238E27FC236}">
                <a16:creationId xmlns:a16="http://schemas.microsoft.com/office/drawing/2014/main" id="{DFAA2138-5CF7-4889-ACC3-41F434DA99C7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1073494" y="6261944"/>
            <a:ext cx="1115457" cy="5154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5185479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5" name="Rectangle 14">
            <a:extLst>
              <a:ext uri="{FF2B5EF4-FFF2-40B4-BE49-F238E27FC236}">
                <a16:creationId xmlns:a16="http://schemas.microsoft.com/office/drawing/2014/main" id="{53F29798-D584-4792-9B62-3F5F5C36D61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Tekstiruutu 9">
            <a:extLst>
              <a:ext uri="{FF2B5EF4-FFF2-40B4-BE49-F238E27FC236}">
                <a16:creationId xmlns:a16="http://schemas.microsoft.com/office/drawing/2014/main" id="{0AA9639B-B7E2-44C5-9CA4-50187E024E5F}"/>
              </a:ext>
            </a:extLst>
          </p:cNvPr>
          <p:cNvSpPr txBox="1"/>
          <p:nvPr/>
        </p:nvSpPr>
        <p:spPr>
          <a:xfrm>
            <a:off x="838200" y="184805"/>
            <a:ext cx="10515600" cy="150588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en-US" sz="3600" i="0" kern="1200" dirty="0" err="1">
                <a:solidFill>
                  <a:schemeClr val="tx1"/>
                </a:solidFill>
                <a:effectLst/>
                <a:latin typeface="Myriad Pro Semibold"/>
                <a:ea typeface="+mj-ea"/>
                <a:cs typeface="+mj-cs"/>
              </a:rPr>
              <a:t>Maitohappokäyminen</a:t>
            </a:r>
            <a:endParaRPr lang="en-US" sz="3600" kern="1200" dirty="0">
              <a:solidFill>
                <a:schemeClr val="tx1"/>
              </a:solidFill>
              <a:latin typeface="Myriad Pro Semibold"/>
              <a:ea typeface="+mj-ea"/>
              <a:cs typeface="+mj-cs"/>
            </a:endParaRPr>
          </a:p>
        </p:txBody>
      </p:sp>
      <p:pic>
        <p:nvPicPr>
          <p:cNvPr id="6" name="Kuva 5">
            <a:extLst>
              <a:ext uri="{FF2B5EF4-FFF2-40B4-BE49-F238E27FC236}">
                <a16:creationId xmlns:a16="http://schemas.microsoft.com/office/drawing/2014/main" id="{9D1B725A-9F7F-4A5F-A8A5-52289C013BBA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3064080" y="1750373"/>
            <a:ext cx="6060786" cy="4450303"/>
          </a:xfrm>
          <a:prstGeom prst="rect">
            <a:avLst/>
          </a:prstGeom>
        </p:spPr>
      </p:pic>
      <p:sp>
        <p:nvSpPr>
          <p:cNvPr id="3" name="Tekstiruutu 2">
            <a:extLst>
              <a:ext uri="{FF2B5EF4-FFF2-40B4-BE49-F238E27FC236}">
                <a16:creationId xmlns:a16="http://schemas.microsoft.com/office/drawing/2014/main" id="{F11D86D1-2E03-42E9-A372-AD660C7DB75E}"/>
              </a:ext>
            </a:extLst>
          </p:cNvPr>
          <p:cNvSpPr txBox="1"/>
          <p:nvPr/>
        </p:nvSpPr>
        <p:spPr>
          <a:xfrm>
            <a:off x="1322754" y="1522820"/>
            <a:ext cx="2748041" cy="360191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endParaRPr lang="en-US" sz="3600" kern="1200" dirty="0">
              <a:solidFill>
                <a:srgbClr val="FFFFFF"/>
              </a:solidFill>
              <a:latin typeface="+mj-lt"/>
              <a:ea typeface="+mj-ea"/>
              <a:cs typeface="+mj-cs"/>
            </a:endParaRPr>
          </a:p>
        </p:txBody>
      </p:sp>
      <p:pic>
        <p:nvPicPr>
          <p:cNvPr id="4" name="Kuva 3">
            <a:extLst>
              <a:ext uri="{FF2B5EF4-FFF2-40B4-BE49-F238E27FC236}">
                <a16:creationId xmlns:a16="http://schemas.microsoft.com/office/drawing/2014/main" id="{DFAA2138-5CF7-4889-ACC3-41F434DA99C7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1073494" y="6261944"/>
            <a:ext cx="1115457" cy="5154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9453528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i 2" hidden="1">
            <a:extLst>
              <a:ext uri="{FF2B5EF4-FFF2-40B4-BE49-F238E27FC236}">
                <a16:creationId xmlns:a16="http://schemas.microsoft.com/office/drawing/2014/main" id="{E23B38B6-C474-4478-B461-DDE3DD760AB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250932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3" name="Objekti 2" hidden="1">
                        <a:extLst>
                          <a:ext uri="{FF2B5EF4-FFF2-40B4-BE49-F238E27FC236}">
                            <a16:creationId xmlns:a16="http://schemas.microsoft.com/office/drawing/2014/main" id="{E23B38B6-C474-4478-B461-DDE3DD760AB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Otsikko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fi-FI" dirty="0">
                <a:latin typeface="Myriad Pro Semibold" charset="0"/>
                <a:ea typeface="Myriad Pro Semibold" charset="0"/>
                <a:cs typeface="Myriad Pro Semibold" charset="0"/>
              </a:rPr>
              <a:t>Tiivistelmä</a:t>
            </a:r>
            <a:endParaRPr lang="fi-FI" dirty="0"/>
          </a:p>
        </p:txBody>
      </p:sp>
      <p:pic>
        <p:nvPicPr>
          <p:cNvPr id="28" name="Kuva 27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04984" y="2298805"/>
            <a:ext cx="3429001" cy="2863216"/>
          </a:xfrm>
          <a:prstGeom prst="rect">
            <a:avLst/>
          </a:prstGeom>
        </p:spPr>
      </p:pic>
      <p:pic>
        <p:nvPicPr>
          <p:cNvPr id="29" name="Kuva 28"/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7312"/>
          <a:stretch/>
        </p:blipFill>
        <p:spPr>
          <a:xfrm>
            <a:off x="7349067" y="1571349"/>
            <a:ext cx="2348906" cy="3923904"/>
          </a:xfrm>
          <a:prstGeom prst="rect">
            <a:avLst/>
          </a:prstGeom>
        </p:spPr>
      </p:pic>
      <p:sp>
        <p:nvSpPr>
          <p:cNvPr id="30" name="Tekstiruutu 29"/>
          <p:cNvSpPr txBox="1"/>
          <p:nvPr/>
        </p:nvSpPr>
        <p:spPr>
          <a:xfrm>
            <a:off x="4830036" y="5565902"/>
            <a:ext cx="2291012" cy="523220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fi-FI" sz="2800" dirty="0"/>
              <a:t>C</a:t>
            </a:r>
            <a:r>
              <a:rPr lang="fi-FI" sz="2800" baseline="-25000" dirty="0"/>
              <a:t>6</a:t>
            </a:r>
            <a:r>
              <a:rPr lang="fi-FI" sz="2800" dirty="0"/>
              <a:t>H</a:t>
            </a:r>
            <a:r>
              <a:rPr lang="fi-FI" sz="2800" baseline="-25000" dirty="0"/>
              <a:t>12</a:t>
            </a:r>
            <a:r>
              <a:rPr lang="fi-FI" sz="2800" dirty="0"/>
              <a:t>O</a:t>
            </a:r>
            <a:r>
              <a:rPr lang="fi-FI" sz="2800" baseline="-25000" dirty="0"/>
              <a:t>6</a:t>
            </a:r>
            <a:r>
              <a:rPr lang="fi-FI" sz="2800" dirty="0"/>
              <a:t> + 6 O</a:t>
            </a:r>
            <a:r>
              <a:rPr lang="fi-FI" sz="2800" baseline="-25000" dirty="0"/>
              <a:t>2</a:t>
            </a:r>
            <a:endParaRPr lang="fi-FI" sz="2800" dirty="0"/>
          </a:p>
        </p:txBody>
      </p:sp>
      <p:sp>
        <p:nvSpPr>
          <p:cNvPr id="31" name="Tekstiruutu 30"/>
          <p:cNvSpPr txBox="1"/>
          <p:nvPr/>
        </p:nvSpPr>
        <p:spPr>
          <a:xfrm>
            <a:off x="4916612" y="1285721"/>
            <a:ext cx="2187137" cy="523220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fi-FI" sz="2800" dirty="0"/>
              <a:t>6 H</a:t>
            </a:r>
            <a:r>
              <a:rPr lang="fi-FI" sz="2800" baseline="-25000" dirty="0"/>
              <a:t>2</a:t>
            </a:r>
            <a:r>
              <a:rPr lang="fi-FI" sz="2800" dirty="0"/>
              <a:t>O + 6 CO</a:t>
            </a:r>
            <a:r>
              <a:rPr lang="fi-FI" sz="2800" baseline="-25000" dirty="0"/>
              <a:t>2</a:t>
            </a:r>
            <a:endParaRPr lang="fi-FI" sz="2800" dirty="0"/>
          </a:p>
        </p:txBody>
      </p:sp>
      <p:sp>
        <p:nvSpPr>
          <p:cNvPr id="32" name="Tekstiruutu 31"/>
          <p:cNvSpPr txBox="1"/>
          <p:nvPr/>
        </p:nvSpPr>
        <p:spPr>
          <a:xfrm>
            <a:off x="10174885" y="2583534"/>
            <a:ext cx="725711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i-FI" sz="2800" dirty="0"/>
              <a:t>ATP</a:t>
            </a:r>
          </a:p>
        </p:txBody>
      </p:sp>
      <p:sp>
        <p:nvSpPr>
          <p:cNvPr id="33" name="Tekstiruutu 32"/>
          <p:cNvSpPr txBox="1"/>
          <p:nvPr/>
        </p:nvSpPr>
        <p:spPr>
          <a:xfrm>
            <a:off x="10179020" y="3594681"/>
            <a:ext cx="1443152" cy="95410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i-FI" sz="2800"/>
              <a:t>lämpö-</a:t>
            </a:r>
            <a:br>
              <a:rPr lang="fi-FI" sz="2800"/>
            </a:br>
            <a:r>
              <a:rPr lang="fi-FI" sz="2800"/>
              <a:t>energiaa</a:t>
            </a:r>
            <a:endParaRPr lang="fi-FI" sz="2800" dirty="0"/>
          </a:p>
        </p:txBody>
      </p:sp>
      <p:sp>
        <p:nvSpPr>
          <p:cNvPr id="34" name="Tekstiruutu 33"/>
          <p:cNvSpPr txBox="1"/>
          <p:nvPr/>
        </p:nvSpPr>
        <p:spPr>
          <a:xfrm>
            <a:off x="355271" y="3106754"/>
            <a:ext cx="1443152" cy="95410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i-FI" sz="2800" dirty="0"/>
              <a:t>valo-</a:t>
            </a:r>
            <a:br>
              <a:rPr lang="fi-FI" sz="2800" dirty="0"/>
            </a:br>
            <a:r>
              <a:rPr lang="fi-FI" sz="2800" dirty="0"/>
              <a:t>energiaa</a:t>
            </a:r>
          </a:p>
        </p:txBody>
      </p:sp>
      <p:cxnSp>
        <p:nvCxnSpPr>
          <p:cNvPr id="36" name="Suora nuoliyhdysviiva 35"/>
          <p:cNvCxnSpPr/>
          <p:nvPr/>
        </p:nvCxnSpPr>
        <p:spPr>
          <a:xfrm>
            <a:off x="1819762" y="3533300"/>
            <a:ext cx="634870" cy="1"/>
          </a:xfrm>
          <a:prstGeom prst="straightConnector1">
            <a:avLst/>
          </a:prstGeom>
          <a:ln w="76200">
            <a:solidFill>
              <a:srgbClr val="DF4C6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Suora nuoliyhdysviiva 37"/>
          <p:cNvCxnSpPr/>
          <p:nvPr/>
        </p:nvCxnSpPr>
        <p:spPr>
          <a:xfrm>
            <a:off x="9234764" y="2871692"/>
            <a:ext cx="634870" cy="1"/>
          </a:xfrm>
          <a:prstGeom prst="straightConnector1">
            <a:avLst/>
          </a:prstGeom>
          <a:ln w="76200">
            <a:solidFill>
              <a:srgbClr val="DF4C6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uora nuoliyhdysviiva 38"/>
          <p:cNvCxnSpPr/>
          <p:nvPr/>
        </p:nvCxnSpPr>
        <p:spPr>
          <a:xfrm>
            <a:off x="9393358" y="3909910"/>
            <a:ext cx="634870" cy="1"/>
          </a:xfrm>
          <a:prstGeom prst="straightConnector1">
            <a:avLst/>
          </a:prstGeom>
          <a:ln w="76200">
            <a:solidFill>
              <a:srgbClr val="DF4C6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Kaari 47"/>
          <p:cNvSpPr/>
          <p:nvPr/>
        </p:nvSpPr>
        <p:spPr>
          <a:xfrm rot="8033465">
            <a:off x="3769918" y="902214"/>
            <a:ext cx="4428067" cy="4521200"/>
          </a:xfrm>
          <a:prstGeom prst="arc">
            <a:avLst/>
          </a:prstGeom>
          <a:ln w="76200">
            <a:solidFill>
              <a:srgbClr val="DF4C62"/>
            </a:solidFill>
            <a:head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fi-FI" dirty="0"/>
          </a:p>
        </p:txBody>
      </p:sp>
      <p:sp>
        <p:nvSpPr>
          <p:cNvPr id="49" name="Kaari 48"/>
          <p:cNvSpPr/>
          <p:nvPr/>
        </p:nvSpPr>
        <p:spPr>
          <a:xfrm rot="18848985">
            <a:off x="4059790" y="1925760"/>
            <a:ext cx="4010154" cy="4164797"/>
          </a:xfrm>
          <a:prstGeom prst="arc">
            <a:avLst/>
          </a:prstGeom>
          <a:ln w="76200">
            <a:solidFill>
              <a:srgbClr val="DF4C62"/>
            </a:solidFill>
            <a:head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3189635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-te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-te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Kenen xmlns="b074eca8-5fb2-43da-8e1c-14493b353147" xsi:nil="true"/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Asiakirja" ma:contentTypeID="0x01010078D098488BDB0E4DB3D1B98825041D0E" ma:contentTypeVersion="16" ma:contentTypeDescription="Luo uusi asiakirja." ma:contentTypeScope="" ma:versionID="4f89c020090708f26b985b9dc78b22b3">
  <xsd:schema xmlns:xsd="http://www.w3.org/2001/XMLSchema" xmlns:xs="http://www.w3.org/2001/XMLSchema" xmlns:p="http://schemas.microsoft.com/office/2006/metadata/properties" xmlns:ns2="b074eca8-5fb2-43da-8e1c-14493b353147" xmlns:ns3="10f150c9-2741-4e22-b721-4e123a12c6bb" targetNamespace="http://schemas.microsoft.com/office/2006/metadata/properties" ma:root="true" ma:fieldsID="6513cda6012a58a901e4874fc766236e" ns2:_="" ns3:_="">
    <xsd:import namespace="b074eca8-5fb2-43da-8e1c-14493b353147"/>
    <xsd:import namespace="10f150c9-2741-4e22-b721-4e123a12c6bb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AutoTags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3:SharedWithUsers" minOccurs="0"/>
                <xsd:element ref="ns3:SharedWithDetails" minOccurs="0"/>
                <xsd:element ref="ns2:MediaServiceAutoKeyPoints" minOccurs="0"/>
                <xsd:element ref="ns2:MediaServiceKeyPoints" minOccurs="0"/>
                <xsd:element ref="ns2:Kenen" minOccurs="0"/>
                <xsd:element ref="ns2:MediaServiceLocation" minOccurs="0"/>
                <xsd:element ref="ns2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074eca8-5fb2-43da-8e1c-14493b353147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Tags" ma:internalName="MediaServiceAutoTags" ma:readOnly="true">
      <xsd:simpleType>
        <xsd:restriction base="dms:Text"/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AutoKeyPoints" ma:index="17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8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Kenen" ma:index="19" nillable="true" ma:displayName="Kenen" ma:format="Dropdown" ma:internalName="Kenen">
      <xsd:simpleType>
        <xsd:restriction base="dms:Text">
          <xsd:maxLength value="255"/>
        </xsd:restriction>
      </xsd:simpleType>
    </xsd:element>
    <xsd:element name="MediaServiceLocation" ma:index="20" nillable="true" ma:displayName="Location" ma:internalName="MediaServiceLocation" ma:readOnly="true">
      <xsd:simpleType>
        <xsd:restriction base="dms:Text"/>
      </xsd:simpleType>
    </xsd:element>
    <xsd:element name="MediaLengthInSeconds" ma:index="21" nillable="true" ma:displayName="MediaLengthInSeconds" ma:hidden="true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0f150c9-2741-4e22-b721-4e123a12c6bb" elementFormDefault="qualified">
    <xsd:import namespace="http://schemas.microsoft.com/office/2006/documentManagement/types"/>
    <xsd:import namespace="http://schemas.microsoft.com/office/infopath/2007/PartnerControls"/>
    <xsd:element name="SharedWithUsers" ma:index="15" nillable="true" ma:displayName="Jaettu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6" nillable="true" ma:displayName="Jakamisen tiedot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Sisältölaji"/>
        <xsd:element ref="dc:title" minOccurs="0" maxOccurs="1" ma:index="4" ma:displayName="Otsikko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6F23C7F9-EAEB-49A2-A0B7-035D1E4E0389}">
  <ds:schemaRefs>
    <ds:schemaRef ds:uri="http://schemas.microsoft.com/office/2006/metadata/properties"/>
    <ds:schemaRef ds:uri="http://purl.org/dc/terms/"/>
    <ds:schemaRef ds:uri="http://schemas.microsoft.com/office/infopath/2007/PartnerControls"/>
    <ds:schemaRef ds:uri="b074eca8-5fb2-43da-8e1c-14493b353147"/>
    <ds:schemaRef ds:uri="http://schemas.openxmlformats.org/package/2006/metadata/core-properties"/>
    <ds:schemaRef ds:uri="10f150c9-2741-4e22-b721-4e123a12c6bb"/>
    <ds:schemaRef ds:uri="http://www.w3.org/XML/1998/namespace"/>
    <ds:schemaRef ds:uri="http://schemas.microsoft.com/office/2006/documentManagement/types"/>
    <ds:schemaRef ds:uri="http://purl.org/dc/elements/1.1/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A6B45939-3B9A-4C21-9D96-3DCB0242B9BF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F3133D0F-2A2B-489B-9E06-1A58888A0518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b074eca8-5fb2-43da-8e1c-14493b353147"/>
    <ds:schemaRef ds:uri="10f150c9-2741-4e22-b721-4e123a12c6bb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52740</TotalTime>
  <Words>210</Words>
  <Application>Microsoft Office PowerPoint</Application>
  <PresentationFormat>Laajakuva</PresentationFormat>
  <Paragraphs>38</Paragraphs>
  <Slides>8</Slides>
  <Notes>0</Notes>
  <HiddenSlides>0</HiddenSlides>
  <MMClips>0</MMClips>
  <ScaleCrop>false</ScaleCrop>
  <HeadingPairs>
    <vt:vector size="8" baseType="variant">
      <vt:variant>
        <vt:lpstr>Käytetyt fontit</vt:lpstr>
      </vt:variant>
      <vt:variant>
        <vt:i4>4</vt:i4>
      </vt:variant>
      <vt:variant>
        <vt:lpstr>Teema</vt:lpstr>
      </vt:variant>
      <vt:variant>
        <vt:i4>1</vt:i4>
      </vt:variant>
      <vt:variant>
        <vt:lpstr>Upotetut OLE-palvelimet</vt:lpstr>
      </vt:variant>
      <vt:variant>
        <vt:i4>1</vt:i4>
      </vt:variant>
      <vt:variant>
        <vt:lpstr>Dian otsikot</vt:lpstr>
      </vt:variant>
      <vt:variant>
        <vt:i4>8</vt:i4>
      </vt:variant>
    </vt:vector>
  </HeadingPairs>
  <TitlesOfParts>
    <vt:vector size="14" baseType="lpstr">
      <vt:lpstr>Arial</vt:lpstr>
      <vt:lpstr>Calibri</vt:lpstr>
      <vt:lpstr>Calibri Light</vt:lpstr>
      <vt:lpstr>Myriad Pro Semibold</vt:lpstr>
      <vt:lpstr>Office-teema</vt:lpstr>
      <vt:lpstr>think-cell Slide</vt:lpstr>
      <vt:lpstr>3 Solut vapauttavat energiaa kemiallisista sidoksista</vt:lpstr>
      <vt:lpstr>PowerPoint-esitys</vt:lpstr>
      <vt:lpstr>PowerPoint-esitys</vt:lpstr>
      <vt:lpstr>PowerPoint-esitys</vt:lpstr>
      <vt:lpstr>Hapettomissa oloissa soluissa vapautuu energiaa käymisreaktioissa</vt:lpstr>
      <vt:lpstr>PowerPoint-esitys</vt:lpstr>
      <vt:lpstr>PowerPoint-esitys</vt:lpstr>
      <vt:lpstr>Tiivistelmä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esitys</dc:title>
  <dc:creator>Marja Penttinen</dc:creator>
  <cp:lastModifiedBy>Helena Laasjärvi</cp:lastModifiedBy>
  <cp:revision>116</cp:revision>
  <dcterms:created xsi:type="dcterms:W3CDTF">2017-07-04T08:37:15Z</dcterms:created>
  <dcterms:modified xsi:type="dcterms:W3CDTF">2022-03-21T17:20:3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78D098488BDB0E4DB3D1B98825041D0E</vt:lpwstr>
  </property>
</Properties>
</file>